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35"/>
  </p:notesMasterIdLst>
  <p:sldIdLst>
    <p:sldId id="256" r:id="rId6"/>
    <p:sldId id="1849" r:id="rId7"/>
    <p:sldId id="262" r:id="rId8"/>
    <p:sldId id="257" r:id="rId9"/>
    <p:sldId id="1839" r:id="rId10"/>
    <p:sldId id="1850" r:id="rId11"/>
    <p:sldId id="1836" r:id="rId12"/>
    <p:sldId id="1840" r:id="rId13"/>
    <p:sldId id="1856" r:id="rId14"/>
    <p:sldId id="1846" r:id="rId15"/>
    <p:sldId id="1854" r:id="rId16"/>
    <p:sldId id="1848" r:id="rId17"/>
    <p:sldId id="1853" r:id="rId18"/>
    <p:sldId id="1847" r:id="rId19"/>
    <p:sldId id="1855" r:id="rId20"/>
    <p:sldId id="1845" r:id="rId21"/>
    <p:sldId id="1852" r:id="rId22"/>
    <p:sldId id="1851" r:id="rId23"/>
    <p:sldId id="274" r:id="rId24"/>
    <p:sldId id="278" r:id="rId25"/>
    <p:sldId id="284" r:id="rId26"/>
    <p:sldId id="287" r:id="rId27"/>
    <p:sldId id="290" r:id="rId28"/>
    <p:sldId id="293" r:id="rId29"/>
    <p:sldId id="1835" r:id="rId30"/>
    <p:sldId id="1857" r:id="rId31"/>
    <p:sldId id="1858" r:id="rId32"/>
    <p:sldId id="1859" r:id="rId33"/>
    <p:sldId id="1860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ander Richwood" initials="AR" lastIdx="2" clrIdx="0">
    <p:extLst>
      <p:ext uri="{19B8F6BF-5375-455C-9EA6-DF929625EA0E}">
        <p15:presenceInfo xmlns:p15="http://schemas.microsoft.com/office/powerpoint/2012/main" userId="S::alexander.richwood@veeva.com::6a746949-975a-4404-914f-fa4a61014c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AB"/>
    <a:srgbClr val="455BA6"/>
    <a:srgbClr val="ED2939"/>
    <a:srgbClr val="F8D4D7"/>
    <a:srgbClr val="AE1C28"/>
    <a:srgbClr val="009246"/>
    <a:srgbClr val="FFC400"/>
    <a:srgbClr val="002395"/>
    <a:srgbClr val="FAE0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6953F22-B3D7-44E2-95D8-618B05979EFE}" v="30" dt="2021-05-06T12:35:32.3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4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Richwood" userId="6a746949-975a-4404-914f-fa4a61014c27" providerId="ADAL" clId="{B7C80352-F3DF-4BDC-AAA6-1BBB3E305882}"/>
    <pc:docChg chg="undo redo custSel addSld modSld sldOrd">
      <pc:chgData name="Alexander Richwood" userId="6a746949-975a-4404-914f-fa4a61014c27" providerId="ADAL" clId="{B7C80352-F3DF-4BDC-AAA6-1BBB3E305882}" dt="2021-05-04T11:21:54.934" v="1177"/>
      <pc:docMkLst>
        <pc:docMk/>
      </pc:docMkLst>
      <pc:sldChg chg="modSp mod ord">
        <pc:chgData name="Alexander Richwood" userId="6a746949-975a-4404-914f-fa4a61014c27" providerId="ADAL" clId="{B7C80352-F3DF-4BDC-AAA6-1BBB3E305882}" dt="2021-04-15T11:58:05.465" v="519" actId="20577"/>
        <pc:sldMkLst>
          <pc:docMk/>
          <pc:sldMk cId="116515369" sldId="256"/>
        </pc:sldMkLst>
        <pc:spChg chg="mod">
          <ac:chgData name="Alexander Richwood" userId="6a746949-975a-4404-914f-fa4a61014c27" providerId="ADAL" clId="{B7C80352-F3DF-4BDC-AAA6-1BBB3E305882}" dt="2021-04-15T11:58:05.465" v="519" actId="20577"/>
          <ac:spMkLst>
            <pc:docMk/>
            <pc:sldMk cId="116515369" sldId="256"/>
            <ac:spMk id="3" creationId="{C1F434BD-C9F5-4F16-AFA5-410B61A270D5}"/>
          </ac:spMkLst>
        </pc:spChg>
      </pc:sldChg>
      <pc:sldChg chg="modSp mod">
        <pc:chgData name="Alexander Richwood" userId="6a746949-975a-4404-914f-fa4a61014c27" providerId="ADAL" clId="{B7C80352-F3DF-4BDC-AAA6-1BBB3E305882}" dt="2021-04-14T09:24:55.507" v="494" actId="20577"/>
        <pc:sldMkLst>
          <pc:docMk/>
          <pc:sldMk cId="4248848264" sldId="257"/>
        </pc:sldMkLst>
        <pc:spChg chg="mod">
          <ac:chgData name="Alexander Richwood" userId="6a746949-975a-4404-914f-fa4a61014c27" providerId="ADAL" clId="{B7C80352-F3DF-4BDC-AAA6-1BBB3E305882}" dt="2021-04-14T09:24:55.507" v="494" actId="20577"/>
          <ac:spMkLst>
            <pc:docMk/>
            <pc:sldMk cId="4248848264" sldId="257"/>
            <ac:spMk id="7" creationId="{C44BFB72-6085-4AD0-91E2-7DA7849AA3EF}"/>
          </ac:spMkLst>
        </pc:spChg>
      </pc:sldChg>
      <pc:sldChg chg="addCm delCm modCm">
        <pc:chgData name="Alexander Richwood" userId="6a746949-975a-4404-914f-fa4a61014c27" providerId="ADAL" clId="{B7C80352-F3DF-4BDC-AAA6-1BBB3E305882}" dt="2021-04-14T08:54:53.413" v="436" actId="1592"/>
        <pc:sldMkLst>
          <pc:docMk/>
          <pc:sldMk cId="0" sldId="262"/>
        </pc:sldMkLst>
      </pc:sldChg>
      <pc:sldChg chg="modSp add mod">
        <pc:chgData name="Alexander Richwood" userId="6a746949-975a-4404-914f-fa4a61014c27" providerId="ADAL" clId="{B7C80352-F3DF-4BDC-AAA6-1BBB3E305882}" dt="2021-04-14T08:02:35.797" v="147" actId="27636"/>
        <pc:sldMkLst>
          <pc:docMk/>
          <pc:sldMk cId="0" sldId="274"/>
        </pc:sldMkLst>
        <pc:spChg chg="mod">
          <ac:chgData name="Alexander Richwood" userId="6a746949-975a-4404-914f-fa4a61014c27" providerId="ADAL" clId="{B7C80352-F3DF-4BDC-AAA6-1BBB3E305882}" dt="2021-04-14T08:02:35.797" v="147" actId="27636"/>
          <ac:spMkLst>
            <pc:docMk/>
            <pc:sldMk cId="0" sldId="274"/>
            <ac:spMk id="2" creationId="{00000000-0000-0000-0000-000000000000}"/>
          </ac:spMkLst>
        </pc:spChg>
      </pc:sldChg>
      <pc:sldChg chg="modSp add mod">
        <pc:chgData name="Alexander Richwood" userId="6a746949-975a-4404-914f-fa4a61014c27" providerId="ADAL" clId="{B7C80352-F3DF-4BDC-AAA6-1BBB3E305882}" dt="2021-04-14T08:49:45.264" v="182" actId="27636"/>
        <pc:sldMkLst>
          <pc:docMk/>
          <pc:sldMk cId="0" sldId="278"/>
        </pc:sldMkLst>
        <pc:spChg chg="mod">
          <ac:chgData name="Alexander Richwood" userId="6a746949-975a-4404-914f-fa4a61014c27" providerId="ADAL" clId="{B7C80352-F3DF-4BDC-AAA6-1BBB3E305882}" dt="2021-04-14T08:49:45.264" v="182" actId="27636"/>
          <ac:spMkLst>
            <pc:docMk/>
            <pc:sldMk cId="0" sldId="278"/>
            <ac:spMk id="2" creationId="{00000000-0000-0000-0000-000000000000}"/>
          </ac:spMkLst>
        </pc:spChg>
      </pc:sldChg>
      <pc:sldChg chg="modSp add mod">
        <pc:chgData name="Alexander Richwood" userId="6a746949-975a-4404-914f-fa4a61014c27" providerId="ADAL" clId="{B7C80352-F3DF-4BDC-AAA6-1BBB3E305882}" dt="2021-04-14T08:49:55.666" v="184" actId="27636"/>
        <pc:sldMkLst>
          <pc:docMk/>
          <pc:sldMk cId="0" sldId="284"/>
        </pc:sldMkLst>
        <pc:spChg chg="mod">
          <ac:chgData name="Alexander Richwood" userId="6a746949-975a-4404-914f-fa4a61014c27" providerId="ADAL" clId="{B7C80352-F3DF-4BDC-AAA6-1BBB3E305882}" dt="2021-04-14T08:49:55.666" v="184" actId="27636"/>
          <ac:spMkLst>
            <pc:docMk/>
            <pc:sldMk cId="0" sldId="284"/>
            <ac:spMk id="2" creationId="{00000000-0000-0000-0000-000000000000}"/>
          </ac:spMkLst>
        </pc:spChg>
      </pc:sldChg>
      <pc:sldChg chg="modSp add mod">
        <pc:chgData name="Alexander Richwood" userId="6a746949-975a-4404-914f-fa4a61014c27" providerId="ADAL" clId="{B7C80352-F3DF-4BDC-AAA6-1BBB3E305882}" dt="2021-04-14T08:50:04.057" v="186" actId="27636"/>
        <pc:sldMkLst>
          <pc:docMk/>
          <pc:sldMk cId="0" sldId="287"/>
        </pc:sldMkLst>
        <pc:spChg chg="mod">
          <ac:chgData name="Alexander Richwood" userId="6a746949-975a-4404-914f-fa4a61014c27" providerId="ADAL" clId="{B7C80352-F3DF-4BDC-AAA6-1BBB3E305882}" dt="2021-04-14T08:50:04.057" v="186" actId="27636"/>
          <ac:spMkLst>
            <pc:docMk/>
            <pc:sldMk cId="0" sldId="287"/>
            <ac:spMk id="2" creationId="{00000000-0000-0000-0000-000000000000}"/>
          </ac:spMkLst>
        </pc:spChg>
      </pc:sldChg>
      <pc:sldChg chg="modSp add mod">
        <pc:chgData name="Alexander Richwood" userId="6a746949-975a-4404-914f-fa4a61014c27" providerId="ADAL" clId="{B7C80352-F3DF-4BDC-AAA6-1BBB3E305882}" dt="2021-04-14T08:50:10.893" v="188" actId="27636"/>
        <pc:sldMkLst>
          <pc:docMk/>
          <pc:sldMk cId="0" sldId="290"/>
        </pc:sldMkLst>
        <pc:spChg chg="mod">
          <ac:chgData name="Alexander Richwood" userId="6a746949-975a-4404-914f-fa4a61014c27" providerId="ADAL" clId="{B7C80352-F3DF-4BDC-AAA6-1BBB3E305882}" dt="2021-04-14T08:50:10.893" v="188" actId="27636"/>
          <ac:spMkLst>
            <pc:docMk/>
            <pc:sldMk cId="0" sldId="290"/>
            <ac:spMk id="2" creationId="{00000000-0000-0000-0000-000000000000}"/>
          </ac:spMkLst>
        </pc:spChg>
      </pc:sldChg>
      <pc:sldChg chg="modSp add mod">
        <pc:chgData name="Alexander Richwood" userId="6a746949-975a-4404-914f-fa4a61014c27" providerId="ADAL" clId="{B7C80352-F3DF-4BDC-AAA6-1BBB3E305882}" dt="2021-04-14T08:51:51.130" v="190" actId="27636"/>
        <pc:sldMkLst>
          <pc:docMk/>
          <pc:sldMk cId="0" sldId="293"/>
        </pc:sldMkLst>
        <pc:spChg chg="mod">
          <ac:chgData name="Alexander Richwood" userId="6a746949-975a-4404-914f-fa4a61014c27" providerId="ADAL" clId="{B7C80352-F3DF-4BDC-AAA6-1BBB3E305882}" dt="2021-04-14T08:51:51.130" v="190" actId="27636"/>
          <ac:spMkLst>
            <pc:docMk/>
            <pc:sldMk cId="0" sldId="293"/>
            <ac:spMk id="2" creationId="{00000000-0000-0000-0000-000000000000}"/>
          </ac:spMkLst>
        </pc:spChg>
      </pc:sldChg>
      <pc:sldChg chg="add">
        <pc:chgData name="Alexander Richwood" userId="6a746949-975a-4404-914f-fa4a61014c27" providerId="ADAL" clId="{B7C80352-F3DF-4BDC-AAA6-1BBB3E305882}" dt="2021-04-14T09:24:33.179" v="437"/>
        <pc:sldMkLst>
          <pc:docMk/>
          <pc:sldMk cId="2853833571" sldId="1835"/>
        </pc:sldMkLst>
      </pc:sldChg>
      <pc:sldChg chg="modSp mod">
        <pc:chgData name="Alexander Richwood" userId="6a746949-975a-4404-914f-fa4a61014c27" providerId="ADAL" clId="{B7C80352-F3DF-4BDC-AAA6-1BBB3E305882}" dt="2021-04-16T09:16:18.109" v="656" actId="14734"/>
        <pc:sldMkLst>
          <pc:docMk/>
          <pc:sldMk cId="3850723112" sldId="1839"/>
        </pc:sldMkLst>
        <pc:graphicFrameChg chg="modGraphic">
          <ac:chgData name="Alexander Richwood" userId="6a746949-975a-4404-914f-fa4a61014c27" providerId="ADAL" clId="{B7C80352-F3DF-4BDC-AAA6-1BBB3E305882}" dt="2021-04-16T09:16:18.109" v="656" actId="14734"/>
          <ac:graphicFrameMkLst>
            <pc:docMk/>
            <pc:sldMk cId="3850723112" sldId="1839"/>
            <ac:graphicFrameMk id="12" creationId="{4CA29A30-2F1A-4B78-863C-34B24DB48283}"/>
          </ac:graphicFrameMkLst>
        </pc:graphicFrameChg>
      </pc:sldChg>
      <pc:sldChg chg="addSp delSp modSp mod ord">
        <pc:chgData name="Alexander Richwood" userId="6a746949-975a-4404-914f-fa4a61014c27" providerId="ADAL" clId="{B7C80352-F3DF-4BDC-AAA6-1BBB3E305882}" dt="2021-05-04T11:21:54.934" v="1177"/>
        <pc:sldMkLst>
          <pc:docMk/>
          <pc:sldMk cId="3470196079" sldId="1845"/>
        </pc:sldMkLst>
        <pc:spChg chg="add del mod">
          <ac:chgData name="Alexander Richwood" userId="6a746949-975a-4404-914f-fa4a61014c27" providerId="ADAL" clId="{B7C80352-F3DF-4BDC-AAA6-1BBB3E305882}" dt="2021-04-19T08:53:22.168" v="841" actId="478"/>
          <ac:spMkLst>
            <pc:docMk/>
            <pc:sldMk cId="3470196079" sldId="1845"/>
            <ac:spMk id="3" creationId="{348580BF-7E14-4BC3-89BF-DC4BB5EF0BF8}"/>
          </ac:spMkLst>
        </pc:spChg>
        <pc:spChg chg="mod">
          <ac:chgData name="Alexander Richwood" userId="6a746949-975a-4404-914f-fa4a61014c27" providerId="ADAL" clId="{B7C80352-F3DF-4BDC-AAA6-1BBB3E305882}" dt="2021-04-19T08:49:02.539" v="684" actId="1036"/>
          <ac:spMkLst>
            <pc:docMk/>
            <pc:sldMk cId="3470196079" sldId="1845"/>
            <ac:spMk id="6" creationId="{30CF5A8A-5B98-45EE-9689-20F91AA712C3}"/>
          </ac:spMkLst>
        </pc:spChg>
        <pc:spChg chg="mod">
          <ac:chgData name="Alexander Richwood" userId="6a746949-975a-4404-914f-fa4a61014c27" providerId="ADAL" clId="{B7C80352-F3DF-4BDC-AAA6-1BBB3E305882}" dt="2021-04-19T08:49:06.226" v="685" actId="20577"/>
          <ac:spMkLst>
            <pc:docMk/>
            <pc:sldMk cId="3470196079" sldId="1845"/>
            <ac:spMk id="7" creationId="{62A032FA-F5B2-460C-96EB-DB7F5498EF2E}"/>
          </ac:spMkLst>
        </pc:spChg>
        <pc:spChg chg="add mod">
          <ac:chgData name="Alexander Richwood" userId="6a746949-975a-4404-914f-fa4a61014c27" providerId="ADAL" clId="{B7C80352-F3DF-4BDC-AAA6-1BBB3E305882}" dt="2021-04-19T08:51:04.520" v="839" actId="20577"/>
          <ac:spMkLst>
            <pc:docMk/>
            <pc:sldMk cId="3470196079" sldId="1845"/>
            <ac:spMk id="9" creationId="{C31C794E-1524-4802-A03B-B7ED585BFFF1}"/>
          </ac:spMkLst>
        </pc:spChg>
        <pc:graphicFrameChg chg="mod">
          <ac:chgData name="Alexander Richwood" userId="6a746949-975a-4404-914f-fa4a61014c27" providerId="ADAL" clId="{B7C80352-F3DF-4BDC-AAA6-1BBB3E305882}" dt="2021-04-19T08:49:02.539" v="684" actId="1036"/>
          <ac:graphicFrameMkLst>
            <pc:docMk/>
            <pc:sldMk cId="3470196079" sldId="1845"/>
            <ac:graphicFrameMk id="4" creationId="{B5453446-2890-45F6-B15B-23FBA193AEF0}"/>
          </ac:graphicFrameMkLst>
        </pc:graphicFrameChg>
      </pc:sldChg>
      <pc:sldChg chg="modSp mod">
        <pc:chgData name="Alexander Richwood" userId="6a746949-975a-4404-914f-fa4a61014c27" providerId="ADAL" clId="{B7C80352-F3DF-4BDC-AAA6-1BBB3E305882}" dt="2021-05-04T08:46:35.620" v="1019" actId="20577"/>
        <pc:sldMkLst>
          <pc:docMk/>
          <pc:sldMk cId="2107417959" sldId="1846"/>
        </pc:sldMkLst>
        <pc:graphicFrameChg chg="modGraphic">
          <ac:chgData name="Alexander Richwood" userId="6a746949-975a-4404-914f-fa4a61014c27" providerId="ADAL" clId="{B7C80352-F3DF-4BDC-AAA6-1BBB3E305882}" dt="2021-05-04T08:46:35.620" v="1019" actId="20577"/>
          <ac:graphicFrameMkLst>
            <pc:docMk/>
            <pc:sldMk cId="2107417959" sldId="1846"/>
            <ac:graphicFrameMk id="4" creationId="{B5453446-2890-45F6-B15B-23FBA193AEF0}"/>
          </ac:graphicFrameMkLst>
        </pc:graphicFrameChg>
      </pc:sldChg>
      <pc:sldChg chg="modSp mod">
        <pc:chgData name="Alexander Richwood" userId="6a746949-975a-4404-914f-fa4a61014c27" providerId="ADAL" clId="{B7C80352-F3DF-4BDC-AAA6-1BBB3E305882}" dt="2021-05-04T11:15:54.354" v="1145" actId="20577"/>
        <pc:sldMkLst>
          <pc:docMk/>
          <pc:sldMk cId="1142908356" sldId="1847"/>
        </pc:sldMkLst>
        <pc:graphicFrameChg chg="modGraphic">
          <ac:chgData name="Alexander Richwood" userId="6a746949-975a-4404-914f-fa4a61014c27" providerId="ADAL" clId="{B7C80352-F3DF-4BDC-AAA6-1BBB3E305882}" dt="2021-05-04T11:15:54.354" v="1145" actId="20577"/>
          <ac:graphicFrameMkLst>
            <pc:docMk/>
            <pc:sldMk cId="1142908356" sldId="1847"/>
            <ac:graphicFrameMk id="4" creationId="{B5453446-2890-45F6-B15B-23FBA193AEF0}"/>
          </ac:graphicFrameMkLst>
        </pc:graphicFrameChg>
      </pc:sldChg>
      <pc:sldChg chg="modSp mod ord">
        <pc:chgData name="Alexander Richwood" userId="6a746949-975a-4404-914f-fa4a61014c27" providerId="ADAL" clId="{B7C80352-F3DF-4BDC-AAA6-1BBB3E305882}" dt="2021-05-04T10:11:53.404" v="1078" actId="20577"/>
        <pc:sldMkLst>
          <pc:docMk/>
          <pc:sldMk cId="1391998556" sldId="1848"/>
        </pc:sldMkLst>
        <pc:graphicFrameChg chg="modGraphic">
          <ac:chgData name="Alexander Richwood" userId="6a746949-975a-4404-914f-fa4a61014c27" providerId="ADAL" clId="{B7C80352-F3DF-4BDC-AAA6-1BBB3E305882}" dt="2021-05-04T10:11:53.404" v="1078" actId="20577"/>
          <ac:graphicFrameMkLst>
            <pc:docMk/>
            <pc:sldMk cId="1391998556" sldId="1848"/>
            <ac:graphicFrameMk id="4" creationId="{B5453446-2890-45F6-B15B-23FBA193AEF0}"/>
          </ac:graphicFrameMkLst>
        </pc:graphicFrameChg>
      </pc:sldChg>
      <pc:sldChg chg="addSp modSp mod addCm delCm modCm">
        <pc:chgData name="Alexander Richwood" userId="6a746949-975a-4404-914f-fa4a61014c27" providerId="ADAL" clId="{B7C80352-F3DF-4BDC-AAA6-1BBB3E305882}" dt="2021-04-14T08:54:50.538" v="435" actId="1592"/>
        <pc:sldMkLst>
          <pc:docMk/>
          <pc:sldMk cId="635572734" sldId="1849"/>
        </pc:sldMkLst>
        <pc:spChg chg="add mod">
          <ac:chgData name="Alexander Richwood" userId="6a746949-975a-4404-914f-fa4a61014c27" providerId="ADAL" clId="{B7C80352-F3DF-4BDC-AAA6-1BBB3E305882}" dt="2021-04-14T08:54:37.856" v="434" actId="14100"/>
          <ac:spMkLst>
            <pc:docMk/>
            <pc:sldMk cId="635572734" sldId="1849"/>
            <ac:spMk id="2" creationId="{5602C742-4FE1-4C92-ADB8-FC828D4AC742}"/>
          </ac:spMkLst>
        </pc:spChg>
        <pc:spChg chg="mod">
          <ac:chgData name="Alexander Richwood" userId="6a746949-975a-4404-914f-fa4a61014c27" providerId="ADAL" clId="{B7C80352-F3DF-4BDC-AAA6-1BBB3E305882}" dt="2021-04-14T08:52:46.572" v="195" actId="20577"/>
          <ac:spMkLst>
            <pc:docMk/>
            <pc:sldMk cId="635572734" sldId="1849"/>
            <ac:spMk id="6" creationId="{22E9B9B8-F59C-4310-B497-760D776B5D2D}"/>
          </ac:spMkLst>
        </pc:spChg>
      </pc:sldChg>
      <pc:sldChg chg="addSp delSp modSp add mod">
        <pc:chgData name="Alexander Richwood" userId="6a746949-975a-4404-914f-fa4a61014c27" providerId="ADAL" clId="{B7C80352-F3DF-4BDC-AAA6-1BBB3E305882}" dt="2021-04-15T13:09:02.870" v="654" actId="404"/>
        <pc:sldMkLst>
          <pc:docMk/>
          <pc:sldMk cId="3700022257" sldId="1850"/>
        </pc:sldMkLst>
        <pc:spChg chg="add mod">
          <ac:chgData name="Alexander Richwood" userId="6a746949-975a-4404-914f-fa4a61014c27" providerId="ADAL" clId="{B7C80352-F3DF-4BDC-AAA6-1BBB3E305882}" dt="2021-04-14T07:42:22.792" v="130" actId="1076"/>
          <ac:spMkLst>
            <pc:docMk/>
            <pc:sldMk cId="3700022257" sldId="1850"/>
            <ac:spMk id="2" creationId="{7CC9130E-736C-4C7D-AE84-231F099444B3}"/>
          </ac:spMkLst>
        </pc:spChg>
        <pc:spChg chg="add">
          <ac:chgData name="Alexander Richwood" userId="6a746949-975a-4404-914f-fa4a61014c27" providerId="ADAL" clId="{B7C80352-F3DF-4BDC-AAA6-1BBB3E305882}" dt="2021-04-15T11:55:38.228" v="498" actId="11529"/>
          <ac:spMkLst>
            <pc:docMk/>
            <pc:sldMk cId="3700022257" sldId="1850"/>
            <ac:spMk id="3" creationId="{A3801440-70C8-412A-BF87-EEFEBAEC9103}"/>
          </ac:spMkLst>
        </pc:spChg>
        <pc:spChg chg="mod">
          <ac:chgData name="Alexander Richwood" userId="6a746949-975a-4404-914f-fa4a61014c27" providerId="ADAL" clId="{B7C80352-F3DF-4BDC-AAA6-1BBB3E305882}" dt="2021-04-14T07:43:22.374" v="141" actId="207"/>
          <ac:spMkLst>
            <pc:docMk/>
            <pc:sldMk cId="3700022257" sldId="1850"/>
            <ac:spMk id="4" creationId="{BAFE647D-E878-4306-8070-70751CD9CF64}"/>
          </ac:spMkLst>
        </pc:spChg>
        <pc:spChg chg="mod">
          <ac:chgData name="Alexander Richwood" userId="6a746949-975a-4404-914f-fa4a61014c27" providerId="ADAL" clId="{B7C80352-F3DF-4BDC-AAA6-1BBB3E305882}" dt="2021-04-14T07:43:22.374" v="141" actId="207"/>
          <ac:spMkLst>
            <pc:docMk/>
            <pc:sldMk cId="3700022257" sldId="1850"/>
            <ac:spMk id="5" creationId="{B5ADF101-0536-46EB-AAD2-DD6DA87ED965}"/>
          </ac:spMkLst>
        </pc:spChg>
        <pc:spChg chg="add del">
          <ac:chgData name="Alexander Richwood" userId="6a746949-975a-4404-914f-fa4a61014c27" providerId="ADAL" clId="{B7C80352-F3DF-4BDC-AAA6-1BBB3E305882}" dt="2021-04-15T13:01:22.249" v="557" actId="478"/>
          <ac:spMkLst>
            <pc:docMk/>
            <pc:sldMk cId="3700022257" sldId="1850"/>
            <ac:spMk id="6" creationId="{5BAAADD6-C529-4536-B3D5-428D2EE2CB7E}"/>
          </ac:spMkLst>
        </pc:spChg>
        <pc:spChg chg="del mod">
          <ac:chgData name="Alexander Richwood" userId="6a746949-975a-4404-914f-fa4a61014c27" providerId="ADAL" clId="{B7C80352-F3DF-4BDC-AAA6-1BBB3E305882}" dt="2021-04-14T07:35:47.311" v="14" actId="478"/>
          <ac:spMkLst>
            <pc:docMk/>
            <pc:sldMk cId="3700022257" sldId="1850"/>
            <ac:spMk id="6" creationId="{7687C351-E8E6-4D85-A12A-E78878573A07}"/>
          </ac:spMkLst>
        </pc:spChg>
        <pc:spChg chg="mod">
          <ac:chgData name="Alexander Richwood" userId="6a746949-975a-4404-914f-fa4a61014c27" providerId="ADAL" clId="{B7C80352-F3DF-4BDC-AAA6-1BBB3E305882}" dt="2021-04-15T13:09:02.870" v="654" actId="404"/>
          <ac:spMkLst>
            <pc:docMk/>
            <pc:sldMk cId="3700022257" sldId="1850"/>
            <ac:spMk id="7" creationId="{1DD62374-2961-4EF7-8B65-F6D3CC4C6523}"/>
          </ac:spMkLst>
        </pc:spChg>
        <pc:spChg chg="mod">
          <ac:chgData name="Alexander Richwood" userId="6a746949-975a-4404-914f-fa4a61014c27" providerId="ADAL" clId="{B7C80352-F3DF-4BDC-AAA6-1BBB3E305882}" dt="2021-04-15T11:54:44.238" v="496" actId="1076"/>
          <ac:spMkLst>
            <pc:docMk/>
            <pc:sldMk cId="3700022257" sldId="1850"/>
            <ac:spMk id="8" creationId="{8514AE5E-14DA-4FCF-AC27-396F7349F1A2}"/>
          </ac:spMkLst>
        </pc:spChg>
        <pc:spChg chg="del mod">
          <ac:chgData name="Alexander Richwood" userId="6a746949-975a-4404-914f-fa4a61014c27" providerId="ADAL" clId="{B7C80352-F3DF-4BDC-AAA6-1BBB3E305882}" dt="2021-04-14T07:35:46.550" v="13" actId="478"/>
          <ac:spMkLst>
            <pc:docMk/>
            <pc:sldMk cId="3700022257" sldId="1850"/>
            <ac:spMk id="9" creationId="{EB61322C-FD8C-4809-9334-C32E8A8C85C3}"/>
          </ac:spMkLst>
        </pc:spChg>
        <pc:spChg chg="mod">
          <ac:chgData name="Alexander Richwood" userId="6a746949-975a-4404-914f-fa4a61014c27" providerId="ADAL" clId="{B7C80352-F3DF-4BDC-AAA6-1BBB3E305882}" dt="2021-04-15T13:05:22.246" v="578" actId="14100"/>
          <ac:spMkLst>
            <pc:docMk/>
            <pc:sldMk cId="3700022257" sldId="1850"/>
            <ac:spMk id="10" creationId="{56E30C29-B01D-4A18-8384-DA792787E7D1}"/>
          </ac:spMkLst>
        </pc:spChg>
        <pc:spChg chg="mod">
          <ac:chgData name="Alexander Richwood" userId="6a746949-975a-4404-914f-fa4a61014c27" providerId="ADAL" clId="{B7C80352-F3DF-4BDC-AAA6-1BBB3E305882}" dt="2021-04-15T13:06:59.844" v="612" actId="1076"/>
          <ac:spMkLst>
            <pc:docMk/>
            <pc:sldMk cId="3700022257" sldId="1850"/>
            <ac:spMk id="11" creationId="{9B8C47C5-1DC4-45B3-BA5A-FB1E6AFBA772}"/>
          </ac:spMkLst>
        </pc:spChg>
        <pc:spChg chg="mod">
          <ac:chgData name="Alexander Richwood" userId="6a746949-975a-4404-914f-fa4a61014c27" providerId="ADAL" clId="{B7C80352-F3DF-4BDC-AAA6-1BBB3E305882}" dt="2021-04-14T07:43:22.374" v="141" actId="207"/>
          <ac:spMkLst>
            <pc:docMk/>
            <pc:sldMk cId="3700022257" sldId="1850"/>
            <ac:spMk id="13" creationId="{A103BCD3-CE4A-48E6-ABE2-AE54E1E86124}"/>
          </ac:spMkLst>
        </pc:spChg>
        <pc:spChg chg="mod">
          <ac:chgData name="Alexander Richwood" userId="6a746949-975a-4404-914f-fa4a61014c27" providerId="ADAL" clId="{B7C80352-F3DF-4BDC-AAA6-1BBB3E305882}" dt="2021-04-14T07:43:22.374" v="141" actId="207"/>
          <ac:spMkLst>
            <pc:docMk/>
            <pc:sldMk cId="3700022257" sldId="1850"/>
            <ac:spMk id="14" creationId="{53BAA89A-3C2F-44B4-A35E-8CF302102CB3}"/>
          </ac:spMkLst>
        </pc:spChg>
        <pc:spChg chg="mod">
          <ac:chgData name="Alexander Richwood" userId="6a746949-975a-4404-914f-fa4a61014c27" providerId="ADAL" clId="{B7C80352-F3DF-4BDC-AAA6-1BBB3E305882}" dt="2021-04-15T11:54:50.983" v="497" actId="1076"/>
          <ac:spMkLst>
            <pc:docMk/>
            <pc:sldMk cId="3700022257" sldId="1850"/>
            <ac:spMk id="15" creationId="{ED45A3C4-8D64-4869-94E8-561AE0F0412F}"/>
          </ac:spMkLst>
        </pc:spChg>
        <pc:spChg chg="mod">
          <ac:chgData name="Alexander Richwood" userId="6a746949-975a-4404-914f-fa4a61014c27" providerId="ADAL" clId="{B7C80352-F3DF-4BDC-AAA6-1BBB3E305882}" dt="2021-04-15T13:07:20.552" v="613" actId="1076"/>
          <ac:spMkLst>
            <pc:docMk/>
            <pc:sldMk cId="3700022257" sldId="1850"/>
            <ac:spMk id="16" creationId="{7829ADF2-60F3-4524-AAF5-556F026272DE}"/>
          </ac:spMkLst>
        </pc:spChg>
        <pc:spChg chg="mod">
          <ac:chgData name="Alexander Richwood" userId="6a746949-975a-4404-914f-fa4a61014c27" providerId="ADAL" clId="{B7C80352-F3DF-4BDC-AAA6-1BBB3E305882}" dt="2021-04-15T13:04:48.392" v="560" actId="1076"/>
          <ac:spMkLst>
            <pc:docMk/>
            <pc:sldMk cId="3700022257" sldId="1850"/>
            <ac:spMk id="17" creationId="{52DFF37C-F1D4-4AF5-B87F-698F47FF9DFD}"/>
          </ac:spMkLst>
        </pc:spChg>
        <pc:spChg chg="mod">
          <ac:chgData name="Alexander Richwood" userId="6a746949-975a-4404-914f-fa4a61014c27" providerId="ADAL" clId="{B7C80352-F3DF-4BDC-AAA6-1BBB3E305882}" dt="2021-04-14T07:42:56.656" v="140" actId="208"/>
          <ac:spMkLst>
            <pc:docMk/>
            <pc:sldMk cId="3700022257" sldId="1850"/>
            <ac:spMk id="18" creationId="{D7AC2BE6-4C3B-4373-94E6-36F338722491}"/>
          </ac:spMkLst>
        </pc:spChg>
        <pc:spChg chg="mod">
          <ac:chgData name="Alexander Richwood" userId="6a746949-975a-4404-914f-fa4a61014c27" providerId="ADAL" clId="{B7C80352-F3DF-4BDC-AAA6-1BBB3E305882}" dt="2021-04-14T07:42:56.656" v="140" actId="208"/>
          <ac:spMkLst>
            <pc:docMk/>
            <pc:sldMk cId="3700022257" sldId="1850"/>
            <ac:spMk id="19" creationId="{BAF6ECA8-F309-4291-B9F8-B5FD673F4AB8}"/>
          </ac:spMkLst>
        </pc:spChg>
        <pc:spChg chg="mod">
          <ac:chgData name="Alexander Richwood" userId="6a746949-975a-4404-914f-fa4a61014c27" providerId="ADAL" clId="{B7C80352-F3DF-4BDC-AAA6-1BBB3E305882}" dt="2021-04-14T07:43:22.374" v="141" actId="207"/>
          <ac:spMkLst>
            <pc:docMk/>
            <pc:sldMk cId="3700022257" sldId="1850"/>
            <ac:spMk id="20" creationId="{9252A3A0-10C4-421A-BD7F-B2E2496496DD}"/>
          </ac:spMkLst>
        </pc:spChg>
        <pc:spChg chg="del mod">
          <ac:chgData name="Alexander Richwood" userId="6a746949-975a-4404-914f-fa4a61014c27" providerId="ADAL" clId="{B7C80352-F3DF-4BDC-AAA6-1BBB3E305882}" dt="2021-04-14T07:40:48.715" v="16" actId="478"/>
          <ac:spMkLst>
            <pc:docMk/>
            <pc:sldMk cId="3700022257" sldId="1850"/>
            <ac:spMk id="21" creationId="{545510E0-AB14-4315-A338-6DEF911D41BA}"/>
          </ac:spMkLst>
        </pc:spChg>
        <pc:spChg chg="del mod">
          <ac:chgData name="Alexander Richwood" userId="6a746949-975a-4404-914f-fa4a61014c27" providerId="ADAL" clId="{B7C80352-F3DF-4BDC-AAA6-1BBB3E305882}" dt="2021-04-14T07:35:44.675" v="12" actId="478"/>
          <ac:spMkLst>
            <pc:docMk/>
            <pc:sldMk cId="3700022257" sldId="1850"/>
            <ac:spMk id="23" creationId="{E1BC3CD9-856D-4047-8531-BAB679F75F91}"/>
          </ac:spMkLst>
        </pc:spChg>
        <pc:spChg chg="add mod">
          <ac:chgData name="Alexander Richwood" userId="6a746949-975a-4404-914f-fa4a61014c27" providerId="ADAL" clId="{B7C80352-F3DF-4BDC-AAA6-1BBB3E305882}" dt="2021-04-14T07:41:22.926" v="82" actId="20577"/>
          <ac:spMkLst>
            <pc:docMk/>
            <pc:sldMk cId="3700022257" sldId="1850"/>
            <ac:spMk id="24" creationId="{EB15CF9F-5709-4648-85A1-3A912FA12E7B}"/>
          </ac:spMkLst>
        </pc:spChg>
        <pc:spChg chg="add mod">
          <ac:chgData name="Alexander Richwood" userId="6a746949-975a-4404-914f-fa4a61014c27" providerId="ADAL" clId="{B7C80352-F3DF-4BDC-AAA6-1BBB3E305882}" dt="2021-04-14T07:42:34.669" v="135" actId="20577"/>
          <ac:spMkLst>
            <pc:docMk/>
            <pc:sldMk cId="3700022257" sldId="1850"/>
            <ac:spMk id="26" creationId="{B8453187-F96D-4DFE-93EF-42C74DE4E984}"/>
          </ac:spMkLst>
        </pc:spChg>
        <pc:spChg chg="mod">
          <ac:chgData name="Alexander Richwood" userId="6a746949-975a-4404-914f-fa4a61014c27" providerId="ADAL" clId="{B7C80352-F3DF-4BDC-AAA6-1BBB3E305882}" dt="2021-04-15T13:01:33.410" v="559" actId="207"/>
          <ac:spMkLst>
            <pc:docMk/>
            <pc:sldMk cId="3700022257" sldId="1850"/>
            <ac:spMk id="27" creationId="{9A49E232-29C4-49D2-A7DA-E4132C8683EC}"/>
          </ac:spMkLst>
        </pc:spChg>
        <pc:spChg chg="mod">
          <ac:chgData name="Alexander Richwood" userId="6a746949-975a-4404-914f-fa4a61014c27" providerId="ADAL" clId="{B7C80352-F3DF-4BDC-AAA6-1BBB3E305882}" dt="2021-04-15T11:54:37.706" v="495" actId="1076"/>
          <ac:spMkLst>
            <pc:docMk/>
            <pc:sldMk cId="3700022257" sldId="1850"/>
            <ac:spMk id="28" creationId="{43AB6ED0-F826-41D9-BBED-2535564F64E0}"/>
          </ac:spMkLst>
        </pc:spChg>
        <pc:spChg chg="mod">
          <ac:chgData name="Alexander Richwood" userId="6a746949-975a-4404-914f-fa4a61014c27" providerId="ADAL" clId="{B7C80352-F3DF-4BDC-AAA6-1BBB3E305882}" dt="2021-04-14T07:43:22.374" v="141" actId="207"/>
          <ac:spMkLst>
            <pc:docMk/>
            <pc:sldMk cId="3700022257" sldId="1850"/>
            <ac:spMk id="29" creationId="{68FBAD3B-98A1-47D4-8226-E24632E3E809}"/>
          </ac:spMkLst>
        </pc:spChg>
        <pc:spChg chg="add mod">
          <ac:chgData name="Alexander Richwood" userId="6a746949-975a-4404-914f-fa4a61014c27" providerId="ADAL" clId="{B7C80352-F3DF-4BDC-AAA6-1BBB3E305882}" dt="2021-04-15T13:05:25.966" v="579" actId="1076"/>
          <ac:spMkLst>
            <pc:docMk/>
            <pc:sldMk cId="3700022257" sldId="1850"/>
            <ac:spMk id="30" creationId="{3F5B6B29-480F-4C38-906B-6A8DD7DF68BF}"/>
          </ac:spMkLst>
        </pc:spChg>
        <pc:spChg chg="add mod">
          <ac:chgData name="Alexander Richwood" userId="6a746949-975a-4404-914f-fa4a61014c27" providerId="ADAL" clId="{B7C80352-F3DF-4BDC-AAA6-1BBB3E305882}" dt="2021-04-15T11:55:54.455" v="502" actId="1076"/>
          <ac:spMkLst>
            <pc:docMk/>
            <pc:sldMk cId="3700022257" sldId="1850"/>
            <ac:spMk id="31" creationId="{87A68816-33B3-433E-A11C-225F1DD722C7}"/>
          </ac:spMkLst>
        </pc:spChg>
        <pc:spChg chg="add mod">
          <ac:chgData name="Alexander Richwood" userId="6a746949-975a-4404-914f-fa4a61014c27" providerId="ADAL" clId="{B7C80352-F3DF-4BDC-AAA6-1BBB3E305882}" dt="2021-04-15T13:07:29.431" v="614" actId="1076"/>
          <ac:spMkLst>
            <pc:docMk/>
            <pc:sldMk cId="3700022257" sldId="1850"/>
            <ac:spMk id="32" creationId="{C4E2A92D-26A5-489C-9588-297C7752B29F}"/>
          </ac:spMkLst>
        </pc:spChg>
        <pc:cxnChg chg="mod">
          <ac:chgData name="Alexander Richwood" userId="6a746949-975a-4404-914f-fa4a61014c27" providerId="ADAL" clId="{B7C80352-F3DF-4BDC-AAA6-1BBB3E305882}" dt="2021-04-14T07:42:42.091" v="136" actId="14100"/>
          <ac:cxnSpMkLst>
            <pc:docMk/>
            <pc:sldMk cId="3700022257" sldId="1850"/>
            <ac:cxnSpMk id="25" creationId="{B4B06A7C-EA4D-4EC3-8AB3-A44244DABE5B}"/>
          </ac:cxnSpMkLst>
        </pc:cxnChg>
      </pc:sldChg>
      <pc:sldChg chg="addSp delSp modSp add mod">
        <pc:chgData name="Alexander Richwood" userId="6a746949-975a-4404-914f-fa4a61014c27" providerId="ADAL" clId="{B7C80352-F3DF-4BDC-AAA6-1BBB3E305882}" dt="2021-04-14T08:03:06.130" v="180" actId="20577"/>
        <pc:sldMkLst>
          <pc:docMk/>
          <pc:sldMk cId="915543674" sldId="1851"/>
        </pc:sldMkLst>
        <pc:spChg chg="add del mod">
          <ac:chgData name="Alexander Richwood" userId="6a746949-975a-4404-914f-fa4a61014c27" providerId="ADAL" clId="{B7C80352-F3DF-4BDC-AAA6-1BBB3E305882}" dt="2021-04-14T08:02:54.696" v="150" actId="478"/>
          <ac:spMkLst>
            <pc:docMk/>
            <pc:sldMk cId="915543674" sldId="1851"/>
            <ac:spMk id="3" creationId="{5078570B-608E-4C57-90F7-2286DC6B28E3}"/>
          </ac:spMkLst>
        </pc:spChg>
        <pc:spChg chg="del">
          <ac:chgData name="Alexander Richwood" userId="6a746949-975a-4404-914f-fa4a61014c27" providerId="ADAL" clId="{B7C80352-F3DF-4BDC-AAA6-1BBB3E305882}" dt="2021-04-14T08:02:47.986" v="149" actId="478"/>
          <ac:spMkLst>
            <pc:docMk/>
            <pc:sldMk cId="915543674" sldId="1851"/>
            <ac:spMk id="4" creationId="{20D7581E-8FFE-428E-A00B-4DE9D15769FB}"/>
          </ac:spMkLst>
        </pc:spChg>
        <pc:spChg chg="add del mod">
          <ac:chgData name="Alexander Richwood" userId="6a746949-975a-4404-914f-fa4a61014c27" providerId="ADAL" clId="{B7C80352-F3DF-4BDC-AAA6-1BBB3E305882}" dt="2021-04-14T08:02:57.371" v="154"/>
          <ac:spMkLst>
            <pc:docMk/>
            <pc:sldMk cId="915543674" sldId="1851"/>
            <ac:spMk id="5" creationId="{8F88CD2C-4FE3-45AA-939A-1A3F1E4D74C0}"/>
          </ac:spMkLst>
        </pc:spChg>
        <pc:spChg chg="add mod">
          <ac:chgData name="Alexander Richwood" userId="6a746949-975a-4404-914f-fa4a61014c27" providerId="ADAL" clId="{B7C80352-F3DF-4BDC-AAA6-1BBB3E305882}" dt="2021-04-14T08:03:06.130" v="180" actId="20577"/>
          <ac:spMkLst>
            <pc:docMk/>
            <pc:sldMk cId="915543674" sldId="1851"/>
            <ac:spMk id="6" creationId="{0319FDF6-7C94-4271-B31B-822284AC93F5}"/>
          </ac:spMkLst>
        </pc:spChg>
      </pc:sldChg>
      <pc:sldChg chg="addSp delSp modSp new mod ord">
        <pc:chgData name="Alexander Richwood" userId="6a746949-975a-4404-914f-fa4a61014c27" providerId="ADAL" clId="{B7C80352-F3DF-4BDC-AAA6-1BBB3E305882}" dt="2021-05-04T11:21:54.934" v="1177"/>
        <pc:sldMkLst>
          <pc:docMk/>
          <pc:sldMk cId="4065050431" sldId="1852"/>
        </pc:sldMkLst>
        <pc:spChg chg="del">
          <ac:chgData name="Alexander Richwood" userId="6a746949-975a-4404-914f-fa4a61014c27" providerId="ADAL" clId="{B7C80352-F3DF-4BDC-AAA6-1BBB3E305882}" dt="2021-04-19T09:23:21.598" v="984" actId="478"/>
          <ac:spMkLst>
            <pc:docMk/>
            <pc:sldMk cId="4065050431" sldId="1852"/>
            <ac:spMk id="2" creationId="{816AD063-D2C2-4D13-AE9D-E7FD74ECB37A}"/>
          </ac:spMkLst>
        </pc:spChg>
        <pc:spChg chg="del">
          <ac:chgData name="Alexander Richwood" userId="6a746949-975a-4404-914f-fa4a61014c27" providerId="ADAL" clId="{B7C80352-F3DF-4BDC-AAA6-1BBB3E305882}" dt="2021-04-19T08:57:26.926" v="842" actId="3680"/>
          <ac:spMkLst>
            <pc:docMk/>
            <pc:sldMk cId="4065050431" sldId="1852"/>
            <ac:spMk id="3" creationId="{73987565-A804-47C4-B34E-67A266047BA3}"/>
          </ac:spMkLst>
        </pc:spChg>
        <pc:spChg chg="add del mod">
          <ac:chgData name="Alexander Richwood" userId="6a746949-975a-4404-914f-fa4a61014c27" providerId="ADAL" clId="{B7C80352-F3DF-4BDC-AAA6-1BBB3E305882}" dt="2021-04-19T09:23:19.847" v="983" actId="478"/>
          <ac:spMkLst>
            <pc:docMk/>
            <pc:sldMk cId="4065050431" sldId="1852"/>
            <ac:spMk id="6" creationId="{2726AF3C-E0F6-4849-955B-81EC42FAD6C3}"/>
          </ac:spMkLst>
        </pc:spChg>
        <pc:graphicFrameChg chg="add del mod ord modGraphic">
          <ac:chgData name="Alexander Richwood" userId="6a746949-975a-4404-914f-fa4a61014c27" providerId="ADAL" clId="{B7C80352-F3DF-4BDC-AAA6-1BBB3E305882}" dt="2021-04-19T08:59:02.712" v="982" actId="478"/>
          <ac:graphicFrameMkLst>
            <pc:docMk/>
            <pc:sldMk cId="4065050431" sldId="1852"/>
            <ac:graphicFrameMk id="4" creationId="{AD1796B6-EE6E-488D-839F-6BC4F06E7CC7}"/>
          </ac:graphicFrameMkLst>
        </pc:graphicFrameChg>
        <pc:graphicFrameChg chg="add del mod modGraphic">
          <ac:chgData name="Alexander Richwood" userId="6a746949-975a-4404-914f-fa4a61014c27" providerId="ADAL" clId="{B7C80352-F3DF-4BDC-AAA6-1BBB3E305882}" dt="2021-04-19T09:24:57.537" v="1015" actId="113"/>
          <ac:graphicFrameMkLst>
            <pc:docMk/>
            <pc:sldMk cId="4065050431" sldId="1852"/>
            <ac:graphicFrameMk id="7" creationId="{47178F28-0C97-4AD9-BCEC-5FCC4E20A264}"/>
          </ac:graphicFrameMkLst>
        </pc:graphicFrameChg>
      </pc:sldChg>
      <pc:sldChg chg="addSp delSp modSp new mod">
        <pc:chgData name="Alexander Richwood" userId="6a746949-975a-4404-914f-fa4a61014c27" providerId="ADAL" clId="{B7C80352-F3DF-4BDC-AAA6-1BBB3E305882}" dt="2021-05-04T10:12:08.046" v="1079" actId="403"/>
        <pc:sldMkLst>
          <pc:docMk/>
          <pc:sldMk cId="2751381702" sldId="1853"/>
        </pc:sldMkLst>
        <pc:spChg chg="del">
          <ac:chgData name="Alexander Richwood" userId="6a746949-975a-4404-914f-fa4a61014c27" providerId="ADAL" clId="{B7C80352-F3DF-4BDC-AAA6-1BBB3E305882}" dt="2021-05-04T09:58:20.992" v="1024" actId="478"/>
          <ac:spMkLst>
            <pc:docMk/>
            <pc:sldMk cId="2751381702" sldId="1853"/>
            <ac:spMk id="2" creationId="{E94A3F1E-4135-4E0C-B3C5-2D4F0EA88F41}"/>
          </ac:spMkLst>
        </pc:spChg>
        <pc:spChg chg="del">
          <ac:chgData name="Alexander Richwood" userId="6a746949-975a-4404-914f-fa4a61014c27" providerId="ADAL" clId="{B7C80352-F3DF-4BDC-AAA6-1BBB3E305882}" dt="2021-05-04T09:58:19.471" v="1023" actId="478"/>
          <ac:spMkLst>
            <pc:docMk/>
            <pc:sldMk cId="2751381702" sldId="1853"/>
            <ac:spMk id="3" creationId="{C157BBF7-170D-4303-88F6-45C416D44D45}"/>
          </ac:spMkLst>
        </pc:spChg>
        <pc:graphicFrameChg chg="add mod modGraphic">
          <ac:chgData name="Alexander Richwood" userId="6a746949-975a-4404-914f-fa4a61014c27" providerId="ADAL" clId="{B7C80352-F3DF-4BDC-AAA6-1BBB3E305882}" dt="2021-05-04T10:12:08.046" v="1079" actId="403"/>
          <ac:graphicFrameMkLst>
            <pc:docMk/>
            <pc:sldMk cId="2751381702" sldId="1853"/>
            <ac:graphicFrameMk id="4" creationId="{C9420883-BA70-4ED5-ADCC-6379402F83D7}"/>
          </ac:graphicFrameMkLst>
        </pc:graphicFrameChg>
        <pc:picChg chg="add mod">
          <ac:chgData name="Alexander Richwood" userId="6a746949-975a-4404-914f-fa4a61014c27" providerId="ADAL" clId="{B7C80352-F3DF-4BDC-AAA6-1BBB3E305882}" dt="2021-05-04T09:59:20.763" v="1038"/>
          <ac:picMkLst>
            <pc:docMk/>
            <pc:sldMk cId="2751381702" sldId="1853"/>
            <ac:picMk id="5" creationId="{3AA6A9BD-E542-4BF3-9D6A-5D6BCB418B26}"/>
          </ac:picMkLst>
        </pc:picChg>
      </pc:sldChg>
      <pc:sldChg chg="addSp delSp modSp new mod">
        <pc:chgData name="Alexander Richwood" userId="6a746949-975a-4404-914f-fa4a61014c27" providerId="ADAL" clId="{B7C80352-F3DF-4BDC-AAA6-1BBB3E305882}" dt="2021-05-04T10:32:19.432" v="1122" actId="207"/>
        <pc:sldMkLst>
          <pc:docMk/>
          <pc:sldMk cId="4220846554" sldId="1854"/>
        </pc:sldMkLst>
        <pc:spChg chg="del">
          <ac:chgData name="Alexander Richwood" userId="6a746949-975a-4404-914f-fa4a61014c27" providerId="ADAL" clId="{B7C80352-F3DF-4BDC-AAA6-1BBB3E305882}" dt="2021-05-04T10:24:40.087" v="1081" actId="478"/>
          <ac:spMkLst>
            <pc:docMk/>
            <pc:sldMk cId="4220846554" sldId="1854"/>
            <ac:spMk id="2" creationId="{FE5CADBE-F8A4-496B-B901-B64DB82696D6}"/>
          </ac:spMkLst>
        </pc:spChg>
        <pc:spChg chg="del">
          <ac:chgData name="Alexander Richwood" userId="6a746949-975a-4404-914f-fa4a61014c27" providerId="ADAL" clId="{B7C80352-F3DF-4BDC-AAA6-1BBB3E305882}" dt="2021-05-04T10:24:40.087" v="1081" actId="478"/>
          <ac:spMkLst>
            <pc:docMk/>
            <pc:sldMk cId="4220846554" sldId="1854"/>
            <ac:spMk id="3" creationId="{D28FCD98-00AE-4C7D-9E69-A2EE04FA4664}"/>
          </ac:spMkLst>
        </pc:spChg>
        <pc:graphicFrameChg chg="add mod modGraphic">
          <ac:chgData name="Alexander Richwood" userId="6a746949-975a-4404-914f-fa4a61014c27" providerId="ADAL" clId="{B7C80352-F3DF-4BDC-AAA6-1BBB3E305882}" dt="2021-05-04T10:32:19.432" v="1122" actId="207"/>
          <ac:graphicFrameMkLst>
            <pc:docMk/>
            <pc:sldMk cId="4220846554" sldId="1854"/>
            <ac:graphicFrameMk id="4" creationId="{0CA7579E-B94B-4B14-B132-CBA427929EB3}"/>
          </ac:graphicFrameMkLst>
        </pc:graphicFrameChg>
        <pc:picChg chg="add mod">
          <ac:chgData name="Alexander Richwood" userId="6a746949-975a-4404-914f-fa4a61014c27" providerId="ADAL" clId="{B7C80352-F3DF-4BDC-AAA6-1BBB3E305882}" dt="2021-05-04T10:25:33.980" v="1094"/>
          <ac:picMkLst>
            <pc:docMk/>
            <pc:sldMk cId="4220846554" sldId="1854"/>
            <ac:picMk id="5" creationId="{F8B11540-C55D-4770-8A5D-A998FDDEBA2E}"/>
          </ac:picMkLst>
        </pc:picChg>
      </pc:sldChg>
      <pc:sldChg chg="addSp delSp modSp new mod">
        <pc:chgData name="Alexander Richwood" userId="6a746949-975a-4404-914f-fa4a61014c27" providerId="ADAL" clId="{B7C80352-F3DF-4BDC-AAA6-1BBB3E305882}" dt="2021-05-04T10:55:32.876" v="1143" actId="207"/>
        <pc:sldMkLst>
          <pc:docMk/>
          <pc:sldMk cId="2708404411" sldId="1855"/>
        </pc:sldMkLst>
        <pc:spChg chg="del">
          <ac:chgData name="Alexander Richwood" userId="6a746949-975a-4404-914f-fa4a61014c27" providerId="ADAL" clId="{B7C80352-F3DF-4BDC-AAA6-1BBB3E305882}" dt="2021-05-04T10:33:58.496" v="1124" actId="478"/>
          <ac:spMkLst>
            <pc:docMk/>
            <pc:sldMk cId="2708404411" sldId="1855"/>
            <ac:spMk id="2" creationId="{CF152CB7-F2B6-499F-93CC-894C5DA86405}"/>
          </ac:spMkLst>
        </pc:spChg>
        <pc:spChg chg="del">
          <ac:chgData name="Alexander Richwood" userId="6a746949-975a-4404-914f-fa4a61014c27" providerId="ADAL" clId="{B7C80352-F3DF-4BDC-AAA6-1BBB3E305882}" dt="2021-05-04T10:33:58.496" v="1124" actId="478"/>
          <ac:spMkLst>
            <pc:docMk/>
            <pc:sldMk cId="2708404411" sldId="1855"/>
            <ac:spMk id="3" creationId="{E0B76612-F424-4656-A8B1-F0CD02DB1009}"/>
          </ac:spMkLst>
        </pc:spChg>
        <pc:graphicFrameChg chg="add mod modGraphic">
          <ac:chgData name="Alexander Richwood" userId="6a746949-975a-4404-914f-fa4a61014c27" providerId="ADAL" clId="{B7C80352-F3DF-4BDC-AAA6-1BBB3E305882}" dt="2021-05-04T10:55:32.876" v="1143" actId="207"/>
          <ac:graphicFrameMkLst>
            <pc:docMk/>
            <pc:sldMk cId="2708404411" sldId="1855"/>
            <ac:graphicFrameMk id="4" creationId="{4F27E63E-377E-4A5A-BF9A-A5198B7DA386}"/>
          </ac:graphicFrameMkLst>
        </pc:graphicFrameChg>
        <pc:picChg chg="add mod">
          <ac:chgData name="Alexander Richwood" userId="6a746949-975a-4404-914f-fa4a61014c27" providerId="ADAL" clId="{B7C80352-F3DF-4BDC-AAA6-1BBB3E305882}" dt="2021-05-04T10:34:30.874" v="1133"/>
          <ac:picMkLst>
            <pc:docMk/>
            <pc:sldMk cId="2708404411" sldId="1855"/>
            <ac:picMk id="5" creationId="{29EE37C2-18E4-454B-A03E-21CD3F7D4F8E}"/>
          </ac:picMkLst>
        </pc:picChg>
      </pc:sldChg>
      <pc:sldChg chg="addSp delSp modSp new mod">
        <pc:chgData name="Alexander Richwood" userId="6a746949-975a-4404-914f-fa4a61014c27" providerId="ADAL" clId="{B7C80352-F3DF-4BDC-AAA6-1BBB3E305882}" dt="2021-05-04T11:21:45.238" v="1175" actId="403"/>
        <pc:sldMkLst>
          <pc:docMk/>
          <pc:sldMk cId="1073748916" sldId="1856"/>
        </pc:sldMkLst>
        <pc:spChg chg="del">
          <ac:chgData name="Alexander Richwood" userId="6a746949-975a-4404-914f-fa4a61014c27" providerId="ADAL" clId="{B7C80352-F3DF-4BDC-AAA6-1BBB3E305882}" dt="2021-05-04T11:16:42.409" v="1147" actId="478"/>
          <ac:spMkLst>
            <pc:docMk/>
            <pc:sldMk cId="1073748916" sldId="1856"/>
            <ac:spMk id="2" creationId="{2811BFBC-16E4-474B-AB75-415B61C21D47}"/>
          </ac:spMkLst>
        </pc:spChg>
        <pc:spChg chg="del">
          <ac:chgData name="Alexander Richwood" userId="6a746949-975a-4404-914f-fa4a61014c27" providerId="ADAL" clId="{B7C80352-F3DF-4BDC-AAA6-1BBB3E305882}" dt="2021-05-04T11:16:42.409" v="1147" actId="478"/>
          <ac:spMkLst>
            <pc:docMk/>
            <pc:sldMk cId="1073748916" sldId="1856"/>
            <ac:spMk id="3" creationId="{166FA89A-4B28-471A-B0AE-62BD74A14FA1}"/>
          </ac:spMkLst>
        </pc:spChg>
        <pc:graphicFrameChg chg="add del mod modGraphic">
          <ac:chgData name="Alexander Richwood" userId="6a746949-975a-4404-914f-fa4a61014c27" providerId="ADAL" clId="{B7C80352-F3DF-4BDC-AAA6-1BBB3E305882}" dt="2021-05-04T11:17:28.520" v="1152"/>
          <ac:graphicFrameMkLst>
            <pc:docMk/>
            <pc:sldMk cId="1073748916" sldId="1856"/>
            <ac:graphicFrameMk id="5" creationId="{24B32E84-6C4E-46B9-AF99-E8D4A953F418}"/>
          </ac:graphicFrameMkLst>
        </pc:graphicFrameChg>
        <pc:graphicFrameChg chg="add mod modGraphic">
          <ac:chgData name="Alexander Richwood" userId="6a746949-975a-4404-914f-fa4a61014c27" providerId="ADAL" clId="{B7C80352-F3DF-4BDC-AAA6-1BBB3E305882}" dt="2021-05-04T11:21:45.238" v="1175" actId="403"/>
          <ac:graphicFrameMkLst>
            <pc:docMk/>
            <pc:sldMk cId="1073748916" sldId="1856"/>
            <ac:graphicFrameMk id="6" creationId="{92413DB4-D20A-4638-A8F9-38CE3F471B6D}"/>
          </ac:graphicFrameMkLst>
        </pc:graphicFrameChg>
        <pc:picChg chg="add mod">
          <ac:chgData name="Alexander Richwood" userId="6a746949-975a-4404-914f-fa4a61014c27" providerId="ADAL" clId="{B7C80352-F3DF-4BDC-AAA6-1BBB3E305882}" dt="2021-05-04T11:16:50.728" v="1148"/>
          <ac:picMkLst>
            <pc:docMk/>
            <pc:sldMk cId="1073748916" sldId="1856"/>
            <ac:picMk id="4" creationId="{5BEF994D-792F-447A-AAEE-28F89B00DA6E}"/>
          </ac:picMkLst>
        </pc:picChg>
      </pc:sldChg>
    </pc:docChg>
  </pc:docChgLst>
  <pc:docChgLst>
    <pc:chgData name="Alexander Richwood" userId="6a746949-975a-4404-914f-fa4a61014c27" providerId="ADAL" clId="{782CC63C-34BA-412C-8B3F-F699DA0E32E1}"/>
    <pc:docChg chg="undo custSel addSld delSld modSld sldOrd">
      <pc:chgData name="Alexander Richwood" userId="6a746949-975a-4404-914f-fa4a61014c27" providerId="ADAL" clId="{782CC63C-34BA-412C-8B3F-F699DA0E32E1}" dt="2021-04-13T18:48:12.609" v="18217" actId="1076"/>
      <pc:docMkLst>
        <pc:docMk/>
      </pc:docMkLst>
      <pc:sldChg chg="addSp delSp modSp mod modClrScheme chgLayout">
        <pc:chgData name="Alexander Richwood" userId="6a746949-975a-4404-914f-fa4a61014c27" providerId="ADAL" clId="{782CC63C-34BA-412C-8B3F-F699DA0E32E1}" dt="2021-04-13T18:38:13.881" v="17512" actId="478"/>
        <pc:sldMkLst>
          <pc:docMk/>
          <pc:sldMk cId="116515369" sldId="256"/>
        </pc:sldMkLst>
        <pc:spChg chg="mod ord">
          <ac:chgData name="Alexander Richwood" userId="6a746949-975a-4404-914f-fa4a61014c27" providerId="ADAL" clId="{782CC63C-34BA-412C-8B3F-F699DA0E32E1}" dt="2021-04-13T17:59:24.811" v="16646" actId="700"/>
          <ac:spMkLst>
            <pc:docMk/>
            <pc:sldMk cId="116515369" sldId="256"/>
            <ac:spMk id="2" creationId="{8A555EB5-E0A3-44DF-BA55-D93C30002DD9}"/>
          </ac:spMkLst>
        </pc:spChg>
        <pc:spChg chg="mod ord">
          <ac:chgData name="Alexander Richwood" userId="6a746949-975a-4404-914f-fa4a61014c27" providerId="ADAL" clId="{782CC63C-34BA-412C-8B3F-F699DA0E32E1}" dt="2021-04-13T17:59:24.811" v="16646" actId="700"/>
          <ac:spMkLst>
            <pc:docMk/>
            <pc:sldMk cId="116515369" sldId="256"/>
            <ac:spMk id="3" creationId="{C1F434BD-C9F5-4F16-AFA5-410B61A270D5}"/>
          </ac:spMkLst>
        </pc:spChg>
        <pc:spChg chg="add del mod ord">
          <ac:chgData name="Alexander Richwood" userId="6a746949-975a-4404-914f-fa4a61014c27" providerId="ADAL" clId="{782CC63C-34BA-412C-8B3F-F699DA0E32E1}" dt="2021-04-13T18:38:13.881" v="17512" actId="478"/>
          <ac:spMkLst>
            <pc:docMk/>
            <pc:sldMk cId="116515369" sldId="256"/>
            <ac:spMk id="4" creationId="{F16AADE6-4A0A-4472-9723-02850CFCB07C}"/>
          </ac:spMkLst>
        </pc:spChg>
      </pc:sldChg>
      <pc:sldChg chg="addSp delSp modSp mod modTransition modClrScheme chgLayout">
        <pc:chgData name="Alexander Richwood" userId="6a746949-975a-4404-914f-fa4a61014c27" providerId="ADAL" clId="{782CC63C-34BA-412C-8B3F-F699DA0E32E1}" dt="2021-04-13T18:46:58.989" v="18192" actId="1076"/>
        <pc:sldMkLst>
          <pc:docMk/>
          <pc:sldMk cId="4248848264" sldId="257"/>
        </pc:sldMkLst>
        <pc:spChg chg="mod ord">
          <ac:chgData name="Alexander Richwood" userId="6a746949-975a-4404-914f-fa4a61014c27" providerId="ADAL" clId="{782CC63C-34BA-412C-8B3F-F699DA0E32E1}" dt="2021-04-13T17:59:46.833" v="16647" actId="20577"/>
          <ac:spMkLst>
            <pc:docMk/>
            <pc:sldMk cId="4248848264" sldId="257"/>
            <ac:spMk id="2" creationId="{5FFF4411-DA29-43F2-8BC6-41043D9A7738}"/>
          </ac:spMkLst>
        </pc:spChg>
        <pc:spChg chg="del mod ord">
          <ac:chgData name="Alexander Richwood" userId="6a746949-975a-4404-914f-fa4a61014c27" providerId="ADAL" clId="{782CC63C-34BA-412C-8B3F-F699DA0E32E1}" dt="2021-04-13T17:18:10.468" v="15030" actId="26606"/>
          <ac:spMkLst>
            <pc:docMk/>
            <pc:sldMk cId="4248848264" sldId="257"/>
            <ac:spMk id="3" creationId="{E75E1945-0B87-442A-917D-084379D60240}"/>
          </ac:spMkLst>
        </pc:spChg>
        <pc:spChg chg="add mod ord">
          <ac:chgData name="Alexander Richwood" userId="6a746949-975a-4404-914f-fa4a61014c27" providerId="ADAL" clId="{782CC63C-34BA-412C-8B3F-F699DA0E32E1}" dt="2021-04-13T17:44:53.050" v="15794" actId="207"/>
          <ac:spMkLst>
            <pc:docMk/>
            <pc:sldMk cId="4248848264" sldId="257"/>
            <ac:spMk id="4" creationId="{9070C444-BE5D-407F-B6A3-19CAABDA4D40}"/>
          </ac:spMkLst>
        </pc:spChg>
        <pc:spChg chg="add mod">
          <ac:chgData name="Alexander Richwood" userId="6a746949-975a-4404-914f-fa4a61014c27" providerId="ADAL" clId="{782CC63C-34BA-412C-8B3F-F699DA0E32E1}" dt="2021-04-13T17:38:06.818" v="15541" actId="404"/>
          <ac:spMkLst>
            <pc:docMk/>
            <pc:sldMk cId="4248848264" sldId="257"/>
            <ac:spMk id="6" creationId="{E2D8DC50-AB55-4A84-90C6-A71C5B7F0917}"/>
          </ac:spMkLst>
        </pc:spChg>
        <pc:spChg chg="add mod">
          <ac:chgData name="Alexander Richwood" userId="6a746949-975a-4404-914f-fa4a61014c27" providerId="ADAL" clId="{782CC63C-34BA-412C-8B3F-F699DA0E32E1}" dt="2021-04-13T17:41:20.855" v="15728" actId="14100"/>
          <ac:spMkLst>
            <pc:docMk/>
            <pc:sldMk cId="4248848264" sldId="257"/>
            <ac:spMk id="7" creationId="{C44BFB72-6085-4AD0-91E2-7DA7849AA3EF}"/>
          </ac:spMkLst>
        </pc:spChg>
        <pc:spChg chg="add mod">
          <ac:chgData name="Alexander Richwood" userId="6a746949-975a-4404-914f-fa4a61014c27" providerId="ADAL" clId="{782CC63C-34BA-412C-8B3F-F699DA0E32E1}" dt="2021-04-13T17:38:44.721" v="15588" actId="20577"/>
          <ac:spMkLst>
            <pc:docMk/>
            <pc:sldMk cId="4248848264" sldId="257"/>
            <ac:spMk id="8" creationId="{0F600C51-A681-460B-AF77-792CC237C644}"/>
          </ac:spMkLst>
        </pc:spChg>
        <pc:spChg chg="add del mod">
          <ac:chgData name="Alexander Richwood" userId="6a746949-975a-4404-914f-fa4a61014c27" providerId="ADAL" clId="{782CC63C-34BA-412C-8B3F-F699DA0E32E1}" dt="2021-04-13T17:38:52.936" v="15592" actId="478"/>
          <ac:spMkLst>
            <pc:docMk/>
            <pc:sldMk cId="4248848264" sldId="257"/>
            <ac:spMk id="10" creationId="{76444C78-EA64-4EB6-A42A-AA13F6439DD3}"/>
          </ac:spMkLst>
        </pc:spChg>
        <pc:spChg chg="add mod">
          <ac:chgData name="Alexander Richwood" userId="6a746949-975a-4404-914f-fa4a61014c27" providerId="ADAL" clId="{782CC63C-34BA-412C-8B3F-F699DA0E32E1}" dt="2021-04-13T18:46:58.989" v="18192" actId="1076"/>
          <ac:spMkLst>
            <pc:docMk/>
            <pc:sldMk cId="4248848264" sldId="257"/>
            <ac:spMk id="11" creationId="{245EF574-4B4B-44E0-90CF-452D3B4F22AE}"/>
          </ac:spMkLst>
        </pc:spChg>
        <pc:spChg chg="add mod">
          <ac:chgData name="Alexander Richwood" userId="6a746949-975a-4404-914f-fa4a61014c27" providerId="ADAL" clId="{782CC63C-34BA-412C-8B3F-F699DA0E32E1}" dt="2021-04-13T17:45:06.636" v="15815" actId="20577"/>
          <ac:spMkLst>
            <pc:docMk/>
            <pc:sldMk cId="4248848264" sldId="257"/>
            <ac:spMk id="12" creationId="{CC590FBB-3ABF-4D81-9825-231FDC986C69}"/>
          </ac:spMkLst>
        </pc:spChg>
        <pc:spChg chg="add mod">
          <ac:chgData name="Alexander Richwood" userId="6a746949-975a-4404-914f-fa4a61014c27" providerId="ADAL" clId="{782CC63C-34BA-412C-8B3F-F699DA0E32E1}" dt="2021-04-13T18:00:19.923" v="16652" actId="1076"/>
          <ac:spMkLst>
            <pc:docMk/>
            <pc:sldMk cId="4248848264" sldId="257"/>
            <ac:spMk id="13" creationId="{9FD36F77-2CD4-430F-962A-342AAE42CDB1}"/>
          </ac:spMkLst>
        </pc:spChg>
        <pc:graphicFrameChg chg="add del mod ord modGraphic">
          <ac:chgData name="Alexander Richwood" userId="6a746949-975a-4404-914f-fa4a61014c27" providerId="ADAL" clId="{782CC63C-34BA-412C-8B3F-F699DA0E32E1}" dt="2021-04-13T17:38:51.048" v="15591" actId="478"/>
          <ac:graphicFrameMkLst>
            <pc:docMk/>
            <pc:sldMk cId="4248848264" sldId="257"/>
            <ac:graphicFrameMk id="5" creationId="{8D6C5188-A313-4129-B71A-34704749A389}"/>
          </ac:graphicFrameMkLst>
        </pc:graphicFrameChg>
      </pc:sldChg>
      <pc:sldChg chg="addSp delSp modSp add mod ord">
        <pc:chgData name="Alexander Richwood" userId="6a746949-975a-4404-914f-fa4a61014c27" providerId="ADAL" clId="{782CC63C-34BA-412C-8B3F-F699DA0E32E1}" dt="2021-04-13T18:44:56.150" v="18191"/>
        <pc:sldMkLst>
          <pc:docMk/>
          <pc:sldMk cId="0" sldId="262"/>
        </pc:sldMkLst>
        <pc:spChg chg="mod">
          <ac:chgData name="Alexander Richwood" userId="6a746949-975a-4404-914f-fa4a61014c27" providerId="ADAL" clId="{782CC63C-34BA-412C-8B3F-F699DA0E32E1}" dt="2021-04-13T18:34:40.325" v="17263" actId="20577"/>
          <ac:spMkLst>
            <pc:docMk/>
            <pc:sldMk cId="0" sldId="262"/>
            <ac:spMk id="2" creationId="{00000000-0000-0000-0000-000000000000}"/>
          </ac:spMkLst>
        </pc:spChg>
        <pc:spChg chg="mod">
          <ac:chgData name="Alexander Richwood" userId="6a746949-975a-4404-914f-fa4a61014c27" providerId="ADAL" clId="{782CC63C-34BA-412C-8B3F-F699DA0E32E1}" dt="2021-04-13T18:40:28.573" v="17588" actId="404"/>
          <ac:spMkLst>
            <pc:docMk/>
            <pc:sldMk cId="0" sldId="262"/>
            <ac:spMk id="3" creationId="{00000000-0000-0000-0000-000000000000}"/>
          </ac:spMkLst>
        </pc:spChg>
        <pc:spChg chg="del mod">
          <ac:chgData name="Alexander Richwood" userId="6a746949-975a-4404-914f-fa4a61014c27" providerId="ADAL" clId="{782CC63C-34BA-412C-8B3F-F699DA0E32E1}" dt="2021-04-13T18:44:56.150" v="18191"/>
          <ac:spMkLst>
            <pc:docMk/>
            <pc:sldMk cId="0" sldId="262"/>
            <ac:spMk id="4" creationId="{00000000-0000-0000-0000-000000000000}"/>
          </ac:spMkLst>
        </pc:spChg>
        <pc:spChg chg="mod">
          <ac:chgData name="Alexander Richwood" userId="6a746949-975a-4404-914f-fa4a61014c27" providerId="ADAL" clId="{782CC63C-34BA-412C-8B3F-F699DA0E32E1}" dt="2021-04-13T18:37:21.914" v="17507" actId="404"/>
          <ac:spMkLst>
            <pc:docMk/>
            <pc:sldMk cId="0" sldId="262"/>
            <ac:spMk id="5" creationId="{00000000-0000-0000-0000-000000000000}"/>
          </ac:spMkLst>
        </pc:spChg>
        <pc:spChg chg="mod">
          <ac:chgData name="Alexander Richwood" userId="6a746949-975a-4404-914f-fa4a61014c27" providerId="ADAL" clId="{782CC63C-34BA-412C-8B3F-F699DA0E32E1}" dt="2021-04-13T18:37:21.914" v="17507" actId="404"/>
          <ac:spMkLst>
            <pc:docMk/>
            <pc:sldMk cId="0" sldId="262"/>
            <ac:spMk id="7" creationId="{00000000-0000-0000-0000-000000000000}"/>
          </ac:spMkLst>
        </pc:spChg>
        <pc:spChg chg="mod">
          <ac:chgData name="Alexander Richwood" userId="6a746949-975a-4404-914f-fa4a61014c27" providerId="ADAL" clId="{782CC63C-34BA-412C-8B3F-F699DA0E32E1}" dt="2021-04-13T18:37:21.914" v="17507" actId="404"/>
          <ac:spMkLst>
            <pc:docMk/>
            <pc:sldMk cId="0" sldId="262"/>
            <ac:spMk id="8" creationId="{00000000-0000-0000-0000-000000000000}"/>
          </ac:spMkLst>
        </pc:spChg>
        <pc:spChg chg="mod">
          <ac:chgData name="Alexander Richwood" userId="6a746949-975a-4404-914f-fa4a61014c27" providerId="ADAL" clId="{782CC63C-34BA-412C-8B3F-F699DA0E32E1}" dt="2021-04-13T18:37:21.914" v="17507" actId="404"/>
          <ac:spMkLst>
            <pc:docMk/>
            <pc:sldMk cId="0" sldId="262"/>
            <ac:spMk id="9" creationId="{00000000-0000-0000-0000-000000000000}"/>
          </ac:spMkLst>
        </pc:spChg>
        <pc:spChg chg="mod">
          <ac:chgData name="Alexander Richwood" userId="6a746949-975a-4404-914f-fa4a61014c27" providerId="ADAL" clId="{782CC63C-34BA-412C-8B3F-F699DA0E32E1}" dt="2021-04-13T18:37:21.914" v="17507" actId="404"/>
          <ac:spMkLst>
            <pc:docMk/>
            <pc:sldMk cId="0" sldId="262"/>
            <ac:spMk id="10" creationId="{00000000-0000-0000-0000-000000000000}"/>
          </ac:spMkLst>
        </pc:spChg>
        <pc:spChg chg="mod">
          <ac:chgData name="Alexander Richwood" userId="6a746949-975a-4404-914f-fa4a61014c27" providerId="ADAL" clId="{782CC63C-34BA-412C-8B3F-F699DA0E32E1}" dt="2021-04-13T18:37:21.914" v="17507" actId="404"/>
          <ac:spMkLst>
            <pc:docMk/>
            <pc:sldMk cId="0" sldId="262"/>
            <ac:spMk id="11" creationId="{00000000-0000-0000-0000-000000000000}"/>
          </ac:spMkLst>
        </pc:spChg>
        <pc:spChg chg="mod">
          <ac:chgData name="Alexander Richwood" userId="6a746949-975a-4404-914f-fa4a61014c27" providerId="ADAL" clId="{782CC63C-34BA-412C-8B3F-F699DA0E32E1}" dt="2021-04-13T18:37:21.914" v="17507" actId="404"/>
          <ac:spMkLst>
            <pc:docMk/>
            <pc:sldMk cId="0" sldId="262"/>
            <ac:spMk id="12" creationId="{00000000-0000-0000-0000-000000000000}"/>
          </ac:spMkLst>
        </pc:spChg>
        <pc:spChg chg="mod">
          <ac:chgData name="Alexander Richwood" userId="6a746949-975a-4404-914f-fa4a61014c27" providerId="ADAL" clId="{782CC63C-34BA-412C-8B3F-F699DA0E32E1}" dt="2021-04-13T18:37:21.914" v="17507" actId="404"/>
          <ac:spMkLst>
            <pc:docMk/>
            <pc:sldMk cId="0" sldId="262"/>
            <ac:spMk id="13" creationId="{00000000-0000-0000-0000-000000000000}"/>
          </ac:spMkLst>
        </pc:spChg>
        <pc:spChg chg="mod">
          <ac:chgData name="Alexander Richwood" userId="6a746949-975a-4404-914f-fa4a61014c27" providerId="ADAL" clId="{782CC63C-34BA-412C-8B3F-F699DA0E32E1}" dt="2021-04-13T18:37:21.914" v="17507" actId="404"/>
          <ac:spMkLst>
            <pc:docMk/>
            <pc:sldMk cId="0" sldId="262"/>
            <ac:spMk id="14" creationId="{00000000-0000-0000-0000-000000000000}"/>
          </ac:spMkLst>
        </pc:spChg>
        <pc:spChg chg="mod">
          <ac:chgData name="Alexander Richwood" userId="6a746949-975a-4404-914f-fa4a61014c27" providerId="ADAL" clId="{782CC63C-34BA-412C-8B3F-F699DA0E32E1}" dt="2021-04-13T18:37:21.914" v="17507" actId="404"/>
          <ac:spMkLst>
            <pc:docMk/>
            <pc:sldMk cId="0" sldId="262"/>
            <ac:spMk id="15" creationId="{00000000-0000-0000-0000-000000000000}"/>
          </ac:spMkLst>
        </pc:spChg>
        <pc:spChg chg="mod">
          <ac:chgData name="Alexander Richwood" userId="6a746949-975a-4404-914f-fa4a61014c27" providerId="ADAL" clId="{782CC63C-34BA-412C-8B3F-F699DA0E32E1}" dt="2021-04-13T18:37:21.914" v="17507" actId="404"/>
          <ac:spMkLst>
            <pc:docMk/>
            <pc:sldMk cId="0" sldId="262"/>
            <ac:spMk id="16" creationId="{00000000-0000-0000-0000-000000000000}"/>
          </ac:spMkLst>
        </pc:spChg>
        <pc:spChg chg="add mod">
          <ac:chgData name="Alexander Richwood" userId="6a746949-975a-4404-914f-fa4a61014c27" providerId="ADAL" clId="{782CC63C-34BA-412C-8B3F-F699DA0E32E1}" dt="2021-04-13T18:44:54.644" v="18189" actId="122"/>
          <ac:spMkLst>
            <pc:docMk/>
            <pc:sldMk cId="0" sldId="262"/>
            <ac:spMk id="17" creationId="{E4904E38-A71F-4E73-9762-E029D4F3F88E}"/>
          </ac:spMkLst>
        </pc:spChg>
        <pc:picChg chg="mod">
          <ac:chgData name="Alexander Richwood" userId="6a746949-975a-4404-914f-fa4a61014c27" providerId="ADAL" clId="{782CC63C-34BA-412C-8B3F-F699DA0E32E1}" dt="2021-04-13T18:37:26.461" v="17509" actId="1076"/>
          <ac:picMkLst>
            <pc:docMk/>
            <pc:sldMk cId="0" sldId="262"/>
            <ac:picMk id="6" creationId="{00000000-0000-0000-0000-000000000000}"/>
          </ac:picMkLst>
        </pc:picChg>
      </pc:sldChg>
      <pc:sldChg chg="add del setBg">
        <pc:chgData name="Alexander Richwood" userId="6a746949-975a-4404-914f-fa4a61014c27" providerId="ADAL" clId="{782CC63C-34BA-412C-8B3F-F699DA0E32E1}" dt="2021-04-13T10:31:00.026" v="3107"/>
        <pc:sldMkLst>
          <pc:docMk/>
          <pc:sldMk cId="4032986112" sldId="276"/>
        </pc:sldMkLst>
      </pc:sldChg>
      <pc:sldChg chg="addSp delSp modSp del mod modClrScheme chgLayout">
        <pc:chgData name="Alexander Richwood" userId="6a746949-975a-4404-914f-fa4a61014c27" providerId="ADAL" clId="{782CC63C-34BA-412C-8B3F-F699DA0E32E1}" dt="2021-04-13T18:00:29.117" v="16653" actId="47"/>
        <pc:sldMkLst>
          <pc:docMk/>
          <pc:sldMk cId="3564237690" sldId="1834"/>
        </pc:sldMkLst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4" creationId="{39F99AAD-F8EA-496B-A96D-F63E799CB0CF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5" creationId="{1F8FBE3B-6715-4D34-A749-61D22C0B47E7}"/>
          </ac:spMkLst>
        </pc:spChg>
        <pc:spChg chg="mod ord">
          <ac:chgData name="Alexander Richwood" userId="6a746949-975a-4404-914f-fa4a61014c27" providerId="ADAL" clId="{782CC63C-34BA-412C-8B3F-F699DA0E32E1}" dt="2021-04-13T17:43:56.129" v="15789" actId="404"/>
          <ac:spMkLst>
            <pc:docMk/>
            <pc:sldMk cId="3564237690" sldId="1834"/>
            <ac:spMk id="9" creationId="{8BCAEBA2-CD29-4EE6-BE3C-10E71E9A38DC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14" creationId="{8AAFDA26-8B0B-437E-9B57-609ED17F062A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16" creationId="{415E3299-E2C6-43FD-B8B3-882F88101DB3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17" creationId="{5DDF9C8E-838A-4CCB-9160-AAF834A627E1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18" creationId="{91FA5008-C046-488D-A747-C465C5621076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21" creationId="{DD2A4567-B4FA-42F5-803F-BE9519FF3CFC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22" creationId="{E4E41005-9835-4DE5-A3BB-77979BB5CA12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23" creationId="{688B59EA-6A34-41C5-8A49-F1B993D4C020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24" creationId="{6B3EBB00-B570-4253-93A1-58F2C2BD08C0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25" creationId="{EBDD0B87-A8FE-498F-98CE-A493A9B00103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26" creationId="{B908945B-9BBB-4D54-ABEE-DAED10EEDBA3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27" creationId="{B25B7DBA-D4C5-407D-84FD-EDF952A7CEED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29" creationId="{BA828232-51E8-4E20-AE3F-357B7F3D2410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30" creationId="{E2425FB1-8F77-4E41-8FA2-0241D1B2EB9B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32" creationId="{9DDDF1BC-D87F-40BC-B6BC-BA41746D5089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33" creationId="{1E2F328F-0B0D-4CDE-AEE4-1A14D735B31A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34" creationId="{10FBFFFE-3D48-40F2-BF37-18A6392494A4}"/>
          </ac:spMkLst>
        </pc:spChg>
        <pc:spChg chg="mod">
          <ac:chgData name="Alexander Richwood" userId="6a746949-975a-4404-914f-fa4a61014c27" providerId="ADAL" clId="{782CC63C-34BA-412C-8B3F-F699DA0E32E1}" dt="2021-04-13T17:43:46.913" v="15786" actId="1076"/>
          <ac:spMkLst>
            <pc:docMk/>
            <pc:sldMk cId="3564237690" sldId="1834"/>
            <ac:spMk id="35" creationId="{DA8CACB6-C9FC-4110-A704-6080D9779DDB}"/>
          </ac:spMkLst>
        </pc:spChg>
        <pc:spChg chg="add del mod">
          <ac:chgData name="Alexander Richwood" userId="6a746949-975a-4404-914f-fa4a61014c27" providerId="ADAL" clId="{782CC63C-34BA-412C-8B3F-F699DA0E32E1}" dt="2021-04-13T17:42:19.664" v="15743"/>
          <ac:spMkLst>
            <pc:docMk/>
            <pc:sldMk cId="3564237690" sldId="1834"/>
            <ac:spMk id="36" creationId="{9ABD2AF5-81DB-47D0-92F6-4CA86A66AA91}"/>
          </ac:spMkLst>
        </pc:spChg>
        <pc:spChg chg="add del mod">
          <ac:chgData name="Alexander Richwood" userId="6a746949-975a-4404-914f-fa4a61014c27" providerId="ADAL" clId="{782CC63C-34BA-412C-8B3F-F699DA0E32E1}" dt="2021-04-13T17:43:00.317" v="15771"/>
          <ac:spMkLst>
            <pc:docMk/>
            <pc:sldMk cId="3564237690" sldId="1834"/>
            <ac:spMk id="37" creationId="{14CA74E9-13EB-45D7-AE8A-02A994761C5D}"/>
          </ac:spMkLst>
        </pc:spChg>
        <pc:spChg chg="add mod">
          <ac:chgData name="Alexander Richwood" userId="6a746949-975a-4404-914f-fa4a61014c27" providerId="ADAL" clId="{782CC63C-34BA-412C-8B3F-F699DA0E32E1}" dt="2021-04-13T17:43:51.442" v="15787" actId="14100"/>
          <ac:spMkLst>
            <pc:docMk/>
            <pc:sldMk cId="3564237690" sldId="1834"/>
            <ac:spMk id="38" creationId="{9828B6F1-82EC-47B4-BE34-365EB72982CC}"/>
          </ac:spMkLst>
        </pc:spChg>
        <pc:grpChg chg="mod">
          <ac:chgData name="Alexander Richwood" userId="6a746949-975a-4404-914f-fa4a61014c27" providerId="ADAL" clId="{782CC63C-34BA-412C-8B3F-F699DA0E32E1}" dt="2021-04-13T17:43:46.913" v="15786" actId="1076"/>
          <ac:grpSpMkLst>
            <pc:docMk/>
            <pc:sldMk cId="3564237690" sldId="1834"/>
            <ac:grpSpMk id="20" creationId="{FA5776DE-AACB-4204-A261-56F3D994A318}"/>
          </ac:grpSpMkLst>
        </pc:grpChg>
        <pc:grpChg chg="mod">
          <ac:chgData name="Alexander Richwood" userId="6a746949-975a-4404-914f-fa4a61014c27" providerId="ADAL" clId="{782CC63C-34BA-412C-8B3F-F699DA0E32E1}" dt="2021-04-13T17:43:46.913" v="15786" actId="1076"/>
          <ac:grpSpMkLst>
            <pc:docMk/>
            <pc:sldMk cId="3564237690" sldId="1834"/>
            <ac:grpSpMk id="28" creationId="{8D10DAE2-DC40-4B24-AC8A-8294B4FFEA03}"/>
          </ac:grpSpMkLst>
        </pc:grpChg>
        <pc:graphicFrameChg chg="mod">
          <ac:chgData name="Alexander Richwood" userId="6a746949-975a-4404-914f-fa4a61014c27" providerId="ADAL" clId="{782CC63C-34BA-412C-8B3F-F699DA0E32E1}" dt="2021-04-13T17:43:46.913" v="15786" actId="1076"/>
          <ac:graphicFrameMkLst>
            <pc:docMk/>
            <pc:sldMk cId="3564237690" sldId="1834"/>
            <ac:graphicFrameMk id="2" creationId="{16C54A25-7646-4813-874D-E399F1A8A450}"/>
          </ac:graphicFrameMkLst>
        </pc:graphicFrameChg>
        <pc:cxnChg chg="mod">
          <ac:chgData name="Alexander Richwood" userId="6a746949-975a-4404-914f-fa4a61014c27" providerId="ADAL" clId="{782CC63C-34BA-412C-8B3F-F699DA0E32E1}" dt="2021-04-13T17:43:46.913" v="15786" actId="1076"/>
          <ac:cxnSpMkLst>
            <pc:docMk/>
            <pc:sldMk cId="3564237690" sldId="1834"/>
            <ac:cxnSpMk id="6" creationId="{AA9C3EBB-0201-488E-A6C2-0B4D4AB3202D}"/>
          </ac:cxnSpMkLst>
        </pc:cxnChg>
        <pc:cxnChg chg="mod">
          <ac:chgData name="Alexander Richwood" userId="6a746949-975a-4404-914f-fa4a61014c27" providerId="ADAL" clId="{782CC63C-34BA-412C-8B3F-F699DA0E32E1}" dt="2021-04-13T17:43:46.913" v="15786" actId="1076"/>
          <ac:cxnSpMkLst>
            <pc:docMk/>
            <pc:sldMk cId="3564237690" sldId="1834"/>
            <ac:cxnSpMk id="8" creationId="{8C8FC5A8-B9D9-4E51-AB5D-64BA89340E1D}"/>
          </ac:cxnSpMkLst>
        </pc:cxnChg>
        <pc:cxnChg chg="mod">
          <ac:chgData name="Alexander Richwood" userId="6a746949-975a-4404-914f-fa4a61014c27" providerId="ADAL" clId="{782CC63C-34BA-412C-8B3F-F699DA0E32E1}" dt="2021-04-13T17:43:46.913" v="15786" actId="1076"/>
          <ac:cxnSpMkLst>
            <pc:docMk/>
            <pc:sldMk cId="3564237690" sldId="1834"/>
            <ac:cxnSpMk id="10" creationId="{DF7BD973-4744-4076-88AD-9AFA8B026EA7}"/>
          </ac:cxnSpMkLst>
        </pc:cxnChg>
        <pc:cxnChg chg="mod">
          <ac:chgData name="Alexander Richwood" userId="6a746949-975a-4404-914f-fa4a61014c27" providerId="ADAL" clId="{782CC63C-34BA-412C-8B3F-F699DA0E32E1}" dt="2021-04-13T17:43:46.913" v="15786" actId="1076"/>
          <ac:cxnSpMkLst>
            <pc:docMk/>
            <pc:sldMk cId="3564237690" sldId="1834"/>
            <ac:cxnSpMk id="11" creationId="{8AAF907B-BF00-459B-8514-850BD6252D51}"/>
          </ac:cxnSpMkLst>
        </pc:cxnChg>
        <pc:cxnChg chg="mod">
          <ac:chgData name="Alexander Richwood" userId="6a746949-975a-4404-914f-fa4a61014c27" providerId="ADAL" clId="{782CC63C-34BA-412C-8B3F-F699DA0E32E1}" dt="2021-04-13T17:43:46.913" v="15786" actId="1076"/>
          <ac:cxnSpMkLst>
            <pc:docMk/>
            <pc:sldMk cId="3564237690" sldId="1834"/>
            <ac:cxnSpMk id="31" creationId="{BBE1910B-891B-4137-8A8D-C7A1C83D73D4}"/>
          </ac:cxnSpMkLst>
        </pc:cxnChg>
      </pc:sldChg>
      <pc:sldChg chg="del">
        <pc:chgData name="Alexander Richwood" userId="6a746949-975a-4404-914f-fa4a61014c27" providerId="ADAL" clId="{782CC63C-34BA-412C-8B3F-F699DA0E32E1}" dt="2021-04-13T18:00:29.117" v="16653" actId="47"/>
        <pc:sldMkLst>
          <pc:docMk/>
          <pc:sldMk cId="2853833571" sldId="1835"/>
        </pc:sldMkLst>
      </pc:sldChg>
      <pc:sldChg chg="addSp delSp modSp mod modClrScheme chgLayout">
        <pc:chgData name="Alexander Richwood" userId="6a746949-975a-4404-914f-fa4a61014c27" providerId="ADAL" clId="{782CC63C-34BA-412C-8B3F-F699DA0E32E1}" dt="2021-04-13T18:00:40.002" v="16662" actId="20577"/>
        <pc:sldMkLst>
          <pc:docMk/>
          <pc:sldMk cId="3735435151" sldId="1836"/>
        </pc:sldMkLst>
        <pc:spChg chg="mod ord">
          <ac:chgData name="Alexander Richwood" userId="6a746949-975a-4404-914f-fa4a61014c27" providerId="ADAL" clId="{782CC63C-34BA-412C-8B3F-F699DA0E32E1}" dt="2021-04-13T18:00:40.002" v="16662" actId="20577"/>
          <ac:spMkLst>
            <pc:docMk/>
            <pc:sldMk cId="3735435151" sldId="1836"/>
            <ac:spMk id="4" creationId="{20D7581E-8FFE-428E-A00B-4DE9D15769FB}"/>
          </ac:spMkLst>
        </pc:spChg>
        <pc:spChg chg="del mod ord">
          <ac:chgData name="Alexander Richwood" userId="6a746949-975a-4404-914f-fa4a61014c27" providerId="ADAL" clId="{782CC63C-34BA-412C-8B3F-F699DA0E32E1}" dt="2021-04-13T17:05:47.833" v="14985" actId="700"/>
          <ac:spMkLst>
            <pc:docMk/>
            <pc:sldMk cId="3735435151" sldId="1836"/>
            <ac:spMk id="5" creationId="{D3927E0B-7730-46D0-A89C-85AE9983D74C}"/>
          </ac:spMkLst>
        </pc:spChg>
        <pc:spChg chg="add del mod ord">
          <ac:chgData name="Alexander Richwood" userId="6a746949-975a-4404-914f-fa4a61014c27" providerId="ADAL" clId="{782CC63C-34BA-412C-8B3F-F699DA0E32E1}" dt="2021-04-13T17:05:52.535" v="14986" actId="478"/>
          <ac:spMkLst>
            <pc:docMk/>
            <pc:sldMk cId="3735435151" sldId="1836"/>
            <ac:spMk id="6" creationId="{985AAA2D-9DED-4942-A395-4EB30DC3CC94}"/>
          </ac:spMkLst>
        </pc:spChg>
        <pc:spChg chg="add del mod ord">
          <ac:chgData name="Alexander Richwood" userId="6a746949-975a-4404-914f-fa4a61014c27" providerId="ADAL" clId="{782CC63C-34BA-412C-8B3F-F699DA0E32E1}" dt="2021-04-13T17:05:54.235" v="14987" actId="478"/>
          <ac:spMkLst>
            <pc:docMk/>
            <pc:sldMk cId="3735435151" sldId="1836"/>
            <ac:spMk id="7" creationId="{2AD5E646-6570-46BF-95FB-82267D664A19}"/>
          </ac:spMkLst>
        </pc:spChg>
      </pc:sldChg>
      <pc:sldChg chg="del">
        <pc:chgData name="Alexander Richwood" userId="6a746949-975a-4404-914f-fa4a61014c27" providerId="ADAL" clId="{782CC63C-34BA-412C-8B3F-F699DA0E32E1}" dt="2021-04-13T10:30:29.804" v="3105" actId="47"/>
        <pc:sldMkLst>
          <pc:docMk/>
          <pc:sldMk cId="3031295094" sldId="1837"/>
        </pc:sldMkLst>
      </pc:sldChg>
      <pc:sldChg chg="del">
        <pc:chgData name="Alexander Richwood" userId="6a746949-975a-4404-914f-fa4a61014c27" providerId="ADAL" clId="{782CC63C-34BA-412C-8B3F-F699DA0E32E1}" dt="2021-04-13T13:17:26.588" v="7472" actId="47"/>
        <pc:sldMkLst>
          <pc:docMk/>
          <pc:sldMk cId="437912998" sldId="1838"/>
        </pc:sldMkLst>
      </pc:sldChg>
      <pc:sldChg chg="addSp delSp modSp new mod ord modClrScheme chgLayout">
        <pc:chgData name="Alexander Richwood" userId="6a746949-975a-4404-914f-fa4a61014c27" providerId="ADAL" clId="{782CC63C-34BA-412C-8B3F-F699DA0E32E1}" dt="2021-04-13T18:48:12.609" v="18217" actId="1076"/>
        <pc:sldMkLst>
          <pc:docMk/>
          <pc:sldMk cId="3850723112" sldId="1839"/>
        </pc:sldMkLst>
        <pc:spChg chg="del mod ord">
          <ac:chgData name="Alexander Richwood" userId="6a746949-975a-4404-914f-fa4a61014c27" providerId="ADAL" clId="{782CC63C-34BA-412C-8B3F-F699DA0E32E1}" dt="2021-04-13T09:20:10.994" v="1" actId="700"/>
          <ac:spMkLst>
            <pc:docMk/>
            <pc:sldMk cId="3850723112" sldId="1839"/>
            <ac:spMk id="2" creationId="{07A84BCB-9D67-4871-A001-7AF8C358CD63}"/>
          </ac:spMkLst>
        </pc:spChg>
        <pc:spChg chg="del mod ord">
          <ac:chgData name="Alexander Richwood" userId="6a746949-975a-4404-914f-fa4a61014c27" providerId="ADAL" clId="{782CC63C-34BA-412C-8B3F-F699DA0E32E1}" dt="2021-04-13T09:20:10.994" v="1" actId="700"/>
          <ac:spMkLst>
            <pc:docMk/>
            <pc:sldMk cId="3850723112" sldId="1839"/>
            <ac:spMk id="3" creationId="{19D66CD0-3ECC-4125-95EF-543C11F441FB}"/>
          </ac:spMkLst>
        </pc:spChg>
        <pc:spChg chg="add mod ord">
          <ac:chgData name="Alexander Richwood" userId="6a746949-975a-4404-914f-fa4a61014c27" providerId="ADAL" clId="{782CC63C-34BA-412C-8B3F-F699DA0E32E1}" dt="2021-04-13T17:22:20.137" v="15427" actId="700"/>
          <ac:spMkLst>
            <pc:docMk/>
            <pc:sldMk cId="3850723112" sldId="1839"/>
            <ac:spMk id="4" creationId="{89CB4C04-7EE1-4904-A0A2-7C53F2EAA6C2}"/>
          </ac:spMkLst>
        </pc:spChg>
        <pc:spChg chg="add mod ord">
          <ac:chgData name="Alexander Richwood" userId="6a746949-975a-4404-914f-fa4a61014c27" providerId="ADAL" clId="{782CC63C-34BA-412C-8B3F-F699DA0E32E1}" dt="2021-04-13T18:48:12.609" v="18217" actId="1076"/>
          <ac:spMkLst>
            <pc:docMk/>
            <pc:sldMk cId="3850723112" sldId="1839"/>
            <ac:spMk id="5" creationId="{65A1CF47-F29D-471B-B98F-B8ECBC454A5C}"/>
          </ac:spMkLst>
        </pc:spChg>
        <pc:spChg chg="add del mod">
          <ac:chgData name="Alexander Richwood" userId="6a746949-975a-4404-914f-fa4a61014c27" providerId="ADAL" clId="{782CC63C-34BA-412C-8B3F-F699DA0E32E1}" dt="2021-04-13T16:00:55.917" v="11035"/>
          <ac:spMkLst>
            <pc:docMk/>
            <pc:sldMk cId="3850723112" sldId="1839"/>
            <ac:spMk id="6" creationId="{B6FE5C3B-D23A-46EE-851B-A4F30D04C0BC}"/>
          </ac:spMkLst>
        </pc:spChg>
        <pc:spChg chg="add mod">
          <ac:chgData name="Alexander Richwood" userId="6a746949-975a-4404-914f-fa4a61014c27" providerId="ADAL" clId="{782CC63C-34BA-412C-8B3F-F699DA0E32E1}" dt="2021-04-13T17:22:19.232" v="15425" actId="207"/>
          <ac:spMkLst>
            <pc:docMk/>
            <pc:sldMk cId="3850723112" sldId="1839"/>
            <ac:spMk id="7" creationId="{D4243318-419D-4E65-90E8-A0E4BC9234E9}"/>
          </ac:spMkLst>
        </pc:spChg>
        <pc:spChg chg="add del mod">
          <ac:chgData name="Alexander Richwood" userId="6a746949-975a-4404-914f-fa4a61014c27" providerId="ADAL" clId="{782CC63C-34BA-412C-8B3F-F699DA0E32E1}" dt="2021-04-13T16:05:34.631" v="11512"/>
          <ac:spMkLst>
            <pc:docMk/>
            <pc:sldMk cId="3850723112" sldId="1839"/>
            <ac:spMk id="8" creationId="{406856FB-69AA-40A0-B6A4-68481EB31AE4}"/>
          </ac:spMkLst>
        </pc:spChg>
        <pc:spChg chg="add del mod">
          <ac:chgData name="Alexander Richwood" userId="6a746949-975a-4404-914f-fa4a61014c27" providerId="ADAL" clId="{782CC63C-34BA-412C-8B3F-F699DA0E32E1}" dt="2021-04-13T16:13:14.397" v="12239" actId="478"/>
          <ac:spMkLst>
            <pc:docMk/>
            <pc:sldMk cId="3850723112" sldId="1839"/>
            <ac:spMk id="9" creationId="{B41184B9-3798-4B4D-9CE4-31AEAE8ECF30}"/>
          </ac:spMkLst>
        </pc:spChg>
        <pc:spChg chg="add del mod">
          <ac:chgData name="Alexander Richwood" userId="6a746949-975a-4404-914f-fa4a61014c27" providerId="ADAL" clId="{782CC63C-34BA-412C-8B3F-F699DA0E32E1}" dt="2021-04-13T16:13:13.202" v="12238" actId="478"/>
          <ac:spMkLst>
            <pc:docMk/>
            <pc:sldMk cId="3850723112" sldId="1839"/>
            <ac:spMk id="10" creationId="{9ACF2384-0671-4223-9532-1BA94572C937}"/>
          </ac:spMkLst>
        </pc:spChg>
        <pc:spChg chg="add del mod">
          <ac:chgData name="Alexander Richwood" userId="6a746949-975a-4404-914f-fa4a61014c27" providerId="ADAL" clId="{782CC63C-34BA-412C-8B3F-F699DA0E32E1}" dt="2021-04-13T16:09:19.776" v="11850" actId="478"/>
          <ac:spMkLst>
            <pc:docMk/>
            <pc:sldMk cId="3850723112" sldId="1839"/>
            <ac:spMk id="11" creationId="{4535B820-CCDB-4C57-9FEC-DE9063F191C6}"/>
          </ac:spMkLst>
        </pc:spChg>
        <pc:spChg chg="add del mod">
          <ac:chgData name="Alexander Richwood" userId="6a746949-975a-4404-914f-fa4a61014c27" providerId="ADAL" clId="{782CC63C-34BA-412C-8B3F-F699DA0E32E1}" dt="2021-04-13T16:27:53.979" v="13376"/>
          <ac:spMkLst>
            <pc:docMk/>
            <pc:sldMk cId="3850723112" sldId="1839"/>
            <ac:spMk id="13" creationId="{DCE57A48-FC01-4AD8-A073-BAC54F64C010}"/>
          </ac:spMkLst>
        </pc:spChg>
        <pc:spChg chg="add del mod">
          <ac:chgData name="Alexander Richwood" userId="6a746949-975a-4404-914f-fa4a61014c27" providerId="ADAL" clId="{782CC63C-34BA-412C-8B3F-F699DA0E32E1}" dt="2021-04-13T18:47:19.052" v="18195" actId="478"/>
          <ac:spMkLst>
            <pc:docMk/>
            <pc:sldMk cId="3850723112" sldId="1839"/>
            <ac:spMk id="14" creationId="{A85752F2-E96F-4239-B30A-4C650FF8C24F}"/>
          </ac:spMkLst>
        </pc:spChg>
        <pc:spChg chg="add mod">
          <ac:chgData name="Alexander Richwood" userId="6a746949-975a-4404-914f-fa4a61014c27" providerId="ADAL" clId="{782CC63C-34BA-412C-8B3F-F699DA0E32E1}" dt="2021-04-13T18:47:09.110" v="18193" actId="113"/>
          <ac:spMkLst>
            <pc:docMk/>
            <pc:sldMk cId="3850723112" sldId="1839"/>
            <ac:spMk id="15" creationId="{5913280F-8F68-4D70-851C-B2BE9731E819}"/>
          </ac:spMkLst>
        </pc:spChg>
        <pc:graphicFrameChg chg="add mod modGraphic">
          <ac:chgData name="Alexander Richwood" userId="6a746949-975a-4404-914f-fa4a61014c27" providerId="ADAL" clId="{782CC63C-34BA-412C-8B3F-F699DA0E32E1}" dt="2021-04-13T18:47:50.893" v="18216" actId="20577"/>
          <ac:graphicFrameMkLst>
            <pc:docMk/>
            <pc:sldMk cId="3850723112" sldId="1839"/>
            <ac:graphicFrameMk id="12" creationId="{4CA29A30-2F1A-4B78-863C-34B24DB48283}"/>
          </ac:graphicFrameMkLst>
        </pc:graphicFrameChg>
      </pc:sldChg>
      <pc:sldChg chg="addSp delSp modSp new mod">
        <pc:chgData name="Alexander Richwood" userId="6a746949-975a-4404-914f-fa4a61014c27" providerId="ADAL" clId="{782CC63C-34BA-412C-8B3F-F699DA0E32E1}" dt="2021-04-13T16:42:57.238" v="14154" actId="20577"/>
        <pc:sldMkLst>
          <pc:docMk/>
          <pc:sldMk cId="3308599519" sldId="1840"/>
        </pc:sldMkLst>
        <pc:spChg chg="mod">
          <ac:chgData name="Alexander Richwood" userId="6a746949-975a-4404-914f-fa4a61014c27" providerId="ADAL" clId="{782CC63C-34BA-412C-8B3F-F699DA0E32E1}" dt="2021-04-13T16:28:15.631" v="13377" actId="1076"/>
          <ac:spMkLst>
            <pc:docMk/>
            <pc:sldMk cId="3308599519" sldId="1840"/>
            <ac:spMk id="2" creationId="{39816C96-C691-4B78-9E0B-E294169B7ECB}"/>
          </ac:spMkLst>
        </pc:spChg>
        <pc:spChg chg="del">
          <ac:chgData name="Alexander Richwood" userId="6a746949-975a-4404-914f-fa4a61014c27" providerId="ADAL" clId="{782CC63C-34BA-412C-8B3F-F699DA0E32E1}" dt="2021-04-13T09:22:58.478" v="326" actId="3680"/>
          <ac:spMkLst>
            <pc:docMk/>
            <pc:sldMk cId="3308599519" sldId="1840"/>
            <ac:spMk id="3" creationId="{D17EE501-0E76-451F-AEA0-109A927092FD}"/>
          </ac:spMkLst>
        </pc:spChg>
        <pc:spChg chg="add mod">
          <ac:chgData name="Alexander Richwood" userId="6a746949-975a-4404-914f-fa4a61014c27" providerId="ADAL" clId="{782CC63C-34BA-412C-8B3F-F699DA0E32E1}" dt="2021-04-13T10:21:03.344" v="2303" actId="1076"/>
          <ac:spMkLst>
            <pc:docMk/>
            <pc:sldMk cId="3308599519" sldId="1840"/>
            <ac:spMk id="6" creationId="{30CF5A8A-5B98-45EE-9689-20F91AA712C3}"/>
          </ac:spMkLst>
        </pc:spChg>
        <pc:spChg chg="add mod">
          <ac:chgData name="Alexander Richwood" userId="6a746949-975a-4404-914f-fa4a61014c27" providerId="ADAL" clId="{782CC63C-34BA-412C-8B3F-F699DA0E32E1}" dt="2021-04-13T16:28:18.083" v="13378" actId="1076"/>
          <ac:spMkLst>
            <pc:docMk/>
            <pc:sldMk cId="3308599519" sldId="1840"/>
            <ac:spMk id="7" creationId="{62A032FA-F5B2-460C-96EB-DB7F5498EF2E}"/>
          </ac:spMkLst>
        </pc:spChg>
        <pc:graphicFrameChg chg="add mod ord modGraphic">
          <ac:chgData name="Alexander Richwood" userId="6a746949-975a-4404-914f-fa4a61014c27" providerId="ADAL" clId="{782CC63C-34BA-412C-8B3F-F699DA0E32E1}" dt="2021-04-13T16:42:57.238" v="14154" actId="20577"/>
          <ac:graphicFrameMkLst>
            <pc:docMk/>
            <pc:sldMk cId="3308599519" sldId="1840"/>
            <ac:graphicFrameMk id="4" creationId="{B5453446-2890-45F6-B15B-23FBA193AEF0}"/>
          </ac:graphicFrameMkLst>
        </pc:graphicFrameChg>
        <pc:picChg chg="add mod">
          <ac:chgData name="Alexander Richwood" userId="6a746949-975a-4404-914f-fa4a61014c27" providerId="ADAL" clId="{782CC63C-34BA-412C-8B3F-F699DA0E32E1}" dt="2021-04-13T09:23:21.551" v="330"/>
          <ac:picMkLst>
            <pc:docMk/>
            <pc:sldMk cId="3308599519" sldId="1840"/>
            <ac:picMk id="5" creationId="{0C84BD58-715E-43A0-AF1E-93E4F23668BB}"/>
          </ac:picMkLst>
        </pc:picChg>
      </pc:sldChg>
      <pc:sldChg chg="addSp delSp modSp add del mod">
        <pc:chgData name="Alexander Richwood" userId="6a746949-975a-4404-914f-fa4a61014c27" providerId="ADAL" clId="{782CC63C-34BA-412C-8B3F-F699DA0E32E1}" dt="2021-04-13T10:27:54.591" v="3080" actId="47"/>
        <pc:sldMkLst>
          <pc:docMk/>
          <pc:sldMk cId="2032780249" sldId="1841"/>
        </pc:sldMkLst>
        <pc:spChg chg="mod">
          <ac:chgData name="Alexander Richwood" userId="6a746949-975a-4404-914f-fa4a61014c27" providerId="ADAL" clId="{782CC63C-34BA-412C-8B3F-F699DA0E32E1}" dt="2021-04-13T09:39:48.715" v="451" actId="20577"/>
          <ac:spMkLst>
            <pc:docMk/>
            <pc:sldMk cId="2032780249" sldId="1841"/>
            <ac:spMk id="2" creationId="{39816C96-C691-4B78-9E0B-E294169B7ECB}"/>
          </ac:spMkLst>
        </pc:spChg>
        <pc:spChg chg="add del mod">
          <ac:chgData name="Alexander Richwood" userId="6a746949-975a-4404-914f-fa4a61014c27" providerId="ADAL" clId="{782CC63C-34BA-412C-8B3F-F699DA0E32E1}" dt="2021-04-13T09:38:37.164" v="427" actId="478"/>
          <ac:spMkLst>
            <pc:docMk/>
            <pc:sldMk cId="2032780249" sldId="1841"/>
            <ac:spMk id="7" creationId="{A76D115F-2D75-41D5-9CC1-C6DC152BBA4B}"/>
          </ac:spMkLst>
        </pc:spChg>
        <pc:spChg chg="add mod">
          <ac:chgData name="Alexander Richwood" userId="6a746949-975a-4404-914f-fa4a61014c27" providerId="ADAL" clId="{782CC63C-34BA-412C-8B3F-F699DA0E32E1}" dt="2021-04-13T10:26:50.677" v="3061" actId="5793"/>
          <ac:spMkLst>
            <pc:docMk/>
            <pc:sldMk cId="2032780249" sldId="1841"/>
            <ac:spMk id="9" creationId="{E3024D9A-EBB7-4259-AD1F-36903131D18C}"/>
          </ac:spMkLst>
        </pc:spChg>
        <pc:graphicFrameChg chg="del modGraphic">
          <ac:chgData name="Alexander Richwood" userId="6a746949-975a-4404-914f-fa4a61014c27" providerId="ADAL" clId="{782CC63C-34BA-412C-8B3F-F699DA0E32E1}" dt="2021-04-13T10:26:49.306" v="3060" actId="478"/>
          <ac:graphicFrameMkLst>
            <pc:docMk/>
            <pc:sldMk cId="2032780249" sldId="1841"/>
            <ac:graphicFrameMk id="4" creationId="{B5453446-2890-45F6-B15B-23FBA193AEF0}"/>
          </ac:graphicFrameMkLst>
        </pc:graphicFrameChg>
        <pc:picChg chg="add del">
          <ac:chgData name="Alexander Richwood" userId="6a746949-975a-4404-914f-fa4a61014c27" providerId="ADAL" clId="{782CC63C-34BA-412C-8B3F-F699DA0E32E1}" dt="2021-04-13T10:18:05.956" v="2115"/>
          <ac:picMkLst>
            <pc:docMk/>
            <pc:sldMk cId="2032780249" sldId="1841"/>
            <ac:picMk id="3" creationId="{1D00AEC3-60B4-4B7C-8CF7-413919B8226B}"/>
          </ac:picMkLst>
        </pc:picChg>
        <pc:picChg chg="del">
          <ac:chgData name="Alexander Richwood" userId="6a746949-975a-4404-914f-fa4a61014c27" providerId="ADAL" clId="{782CC63C-34BA-412C-8B3F-F699DA0E32E1}" dt="2021-04-13T09:38:24.879" v="423" actId="478"/>
          <ac:picMkLst>
            <pc:docMk/>
            <pc:sldMk cId="2032780249" sldId="1841"/>
            <ac:picMk id="5" creationId="{0C84BD58-715E-43A0-AF1E-93E4F23668BB}"/>
          </ac:picMkLst>
        </pc:picChg>
        <pc:picChg chg="add del mod">
          <ac:chgData name="Alexander Richwood" userId="6a746949-975a-4404-914f-fa4a61014c27" providerId="ADAL" clId="{782CC63C-34BA-412C-8B3F-F699DA0E32E1}" dt="2021-04-13T10:27:09.324" v="3071" actId="1076"/>
          <ac:picMkLst>
            <pc:docMk/>
            <pc:sldMk cId="2032780249" sldId="1841"/>
            <ac:picMk id="6" creationId="{453582FF-EF80-4735-BA84-B3614312385D}"/>
          </ac:picMkLst>
        </pc:picChg>
      </pc:sldChg>
      <pc:sldChg chg="addSp delSp modSp add del mod">
        <pc:chgData name="Alexander Richwood" userId="6a746949-975a-4404-914f-fa4a61014c27" providerId="ADAL" clId="{782CC63C-34BA-412C-8B3F-F699DA0E32E1}" dt="2021-04-13T10:28:27.136" v="3089" actId="47"/>
        <pc:sldMkLst>
          <pc:docMk/>
          <pc:sldMk cId="159356777" sldId="1842"/>
        </pc:sldMkLst>
        <pc:spChg chg="mod">
          <ac:chgData name="Alexander Richwood" userId="6a746949-975a-4404-914f-fa4a61014c27" providerId="ADAL" clId="{782CC63C-34BA-412C-8B3F-F699DA0E32E1}" dt="2021-04-13T09:40:04.657" v="461" actId="20577"/>
          <ac:spMkLst>
            <pc:docMk/>
            <pc:sldMk cId="159356777" sldId="1842"/>
            <ac:spMk id="2" creationId="{39816C96-C691-4B78-9E0B-E294169B7ECB}"/>
          </ac:spMkLst>
        </pc:spChg>
        <pc:spChg chg="add del mod">
          <ac:chgData name="Alexander Richwood" userId="6a746949-975a-4404-914f-fa4a61014c27" providerId="ADAL" clId="{782CC63C-34BA-412C-8B3F-F699DA0E32E1}" dt="2021-04-13T09:40:27.498" v="467" actId="478"/>
          <ac:spMkLst>
            <pc:docMk/>
            <pc:sldMk cId="159356777" sldId="1842"/>
            <ac:spMk id="7" creationId="{C7E92793-0DDA-4E32-B836-0850CF04E796}"/>
          </ac:spMkLst>
        </pc:spChg>
        <pc:graphicFrameChg chg="modGraphic">
          <ac:chgData name="Alexander Richwood" userId="6a746949-975a-4404-914f-fa4a61014c27" providerId="ADAL" clId="{782CC63C-34BA-412C-8B3F-F699DA0E32E1}" dt="2021-04-13T09:40:54.279" v="492" actId="207"/>
          <ac:graphicFrameMkLst>
            <pc:docMk/>
            <pc:sldMk cId="159356777" sldId="1842"/>
            <ac:graphicFrameMk id="4" creationId="{B5453446-2890-45F6-B15B-23FBA193AEF0}"/>
          </ac:graphicFrameMkLst>
        </pc:graphicFrameChg>
        <pc:picChg chg="add mod">
          <ac:chgData name="Alexander Richwood" userId="6a746949-975a-4404-914f-fa4a61014c27" providerId="ADAL" clId="{782CC63C-34BA-412C-8B3F-F699DA0E32E1}" dt="2021-04-13T09:40:45.609" v="491" actId="1036"/>
          <ac:picMkLst>
            <pc:docMk/>
            <pc:sldMk cId="159356777" sldId="1842"/>
            <ac:picMk id="5" creationId="{13508CEF-9163-4E07-A05A-A52AC5686892}"/>
          </ac:picMkLst>
        </pc:picChg>
        <pc:picChg chg="del">
          <ac:chgData name="Alexander Richwood" userId="6a746949-975a-4404-914f-fa4a61014c27" providerId="ADAL" clId="{782CC63C-34BA-412C-8B3F-F699DA0E32E1}" dt="2021-04-13T09:40:41.509" v="471" actId="478"/>
          <ac:picMkLst>
            <pc:docMk/>
            <pc:sldMk cId="159356777" sldId="1842"/>
            <ac:picMk id="6" creationId="{453582FF-EF80-4735-BA84-B3614312385D}"/>
          </ac:picMkLst>
        </pc:picChg>
      </pc:sldChg>
      <pc:sldChg chg="addSp delSp modSp add del mod">
        <pc:chgData name="Alexander Richwood" userId="6a746949-975a-4404-914f-fa4a61014c27" providerId="ADAL" clId="{782CC63C-34BA-412C-8B3F-F699DA0E32E1}" dt="2021-04-13T10:29:50.964" v="3094" actId="47"/>
        <pc:sldMkLst>
          <pc:docMk/>
          <pc:sldMk cId="3483826295" sldId="1843"/>
        </pc:sldMkLst>
        <pc:spChg chg="mod">
          <ac:chgData name="Alexander Richwood" userId="6a746949-975a-4404-914f-fa4a61014c27" providerId="ADAL" clId="{782CC63C-34BA-412C-8B3F-F699DA0E32E1}" dt="2021-04-13T09:41:25.270" v="508" actId="20577"/>
          <ac:spMkLst>
            <pc:docMk/>
            <pc:sldMk cId="3483826295" sldId="1843"/>
            <ac:spMk id="2" creationId="{39816C96-C691-4B78-9E0B-E294169B7ECB}"/>
          </ac:spMkLst>
        </pc:spChg>
        <pc:spChg chg="add del mod">
          <ac:chgData name="Alexander Richwood" userId="6a746949-975a-4404-914f-fa4a61014c27" providerId="ADAL" clId="{782CC63C-34BA-412C-8B3F-F699DA0E32E1}" dt="2021-04-13T09:41:57.178" v="514" actId="478"/>
          <ac:spMkLst>
            <pc:docMk/>
            <pc:sldMk cId="3483826295" sldId="1843"/>
            <ac:spMk id="7" creationId="{8702CBEA-F623-4C14-9867-D0F402C11BB4}"/>
          </ac:spMkLst>
        </pc:spChg>
        <pc:graphicFrameChg chg="modGraphic">
          <ac:chgData name="Alexander Richwood" userId="6a746949-975a-4404-914f-fa4a61014c27" providerId="ADAL" clId="{782CC63C-34BA-412C-8B3F-F699DA0E32E1}" dt="2021-04-13T09:42:21.294" v="520" actId="207"/>
          <ac:graphicFrameMkLst>
            <pc:docMk/>
            <pc:sldMk cId="3483826295" sldId="1843"/>
            <ac:graphicFrameMk id="4" creationId="{B5453446-2890-45F6-B15B-23FBA193AEF0}"/>
          </ac:graphicFrameMkLst>
        </pc:graphicFrameChg>
        <pc:picChg chg="del">
          <ac:chgData name="Alexander Richwood" userId="6a746949-975a-4404-914f-fa4a61014c27" providerId="ADAL" clId="{782CC63C-34BA-412C-8B3F-F699DA0E32E1}" dt="2021-04-13T09:42:08.690" v="518" actId="478"/>
          <ac:picMkLst>
            <pc:docMk/>
            <pc:sldMk cId="3483826295" sldId="1843"/>
            <ac:picMk id="5" creationId="{13508CEF-9163-4E07-A05A-A52AC5686892}"/>
          </ac:picMkLst>
        </pc:picChg>
        <pc:picChg chg="add mod">
          <ac:chgData name="Alexander Richwood" userId="6a746949-975a-4404-914f-fa4a61014c27" providerId="ADAL" clId="{782CC63C-34BA-412C-8B3F-F699DA0E32E1}" dt="2021-04-13T09:42:11.161" v="519" actId="1076"/>
          <ac:picMkLst>
            <pc:docMk/>
            <pc:sldMk cId="3483826295" sldId="1843"/>
            <ac:picMk id="6" creationId="{A88810EC-96AE-4003-90C8-99A86C033EAF}"/>
          </ac:picMkLst>
        </pc:picChg>
      </pc:sldChg>
      <pc:sldChg chg="addSp delSp modSp add del mod">
        <pc:chgData name="Alexander Richwood" userId="6a746949-975a-4404-914f-fa4a61014c27" providerId="ADAL" clId="{782CC63C-34BA-412C-8B3F-F699DA0E32E1}" dt="2021-04-13T13:17:24.193" v="7471" actId="47"/>
        <pc:sldMkLst>
          <pc:docMk/>
          <pc:sldMk cId="3040831400" sldId="1844"/>
        </pc:sldMkLst>
        <pc:spChg chg="mod">
          <ac:chgData name="Alexander Richwood" userId="6a746949-975a-4404-914f-fa4a61014c27" providerId="ADAL" clId="{782CC63C-34BA-412C-8B3F-F699DA0E32E1}" dt="2021-04-13T09:42:37.582" v="526" actId="20577"/>
          <ac:spMkLst>
            <pc:docMk/>
            <pc:sldMk cId="3040831400" sldId="1844"/>
            <ac:spMk id="2" creationId="{39816C96-C691-4B78-9E0B-E294169B7ECB}"/>
          </ac:spMkLst>
        </pc:spChg>
        <pc:spChg chg="add mod">
          <ac:chgData name="Alexander Richwood" userId="6a746949-975a-4404-914f-fa4a61014c27" providerId="ADAL" clId="{782CC63C-34BA-412C-8B3F-F699DA0E32E1}" dt="2021-04-13T09:42:58.126" v="530" actId="14100"/>
          <ac:spMkLst>
            <pc:docMk/>
            <pc:sldMk cId="3040831400" sldId="1844"/>
            <ac:spMk id="7" creationId="{92330C26-A190-4BB1-AFAD-1512F3AE8DA6}"/>
          </ac:spMkLst>
        </pc:spChg>
        <pc:graphicFrameChg chg="modGraphic">
          <ac:chgData name="Alexander Richwood" userId="6a746949-975a-4404-914f-fa4a61014c27" providerId="ADAL" clId="{782CC63C-34BA-412C-8B3F-F699DA0E32E1}" dt="2021-04-13T09:43:46.013" v="537" actId="207"/>
          <ac:graphicFrameMkLst>
            <pc:docMk/>
            <pc:sldMk cId="3040831400" sldId="1844"/>
            <ac:graphicFrameMk id="4" creationId="{B5453446-2890-45F6-B15B-23FBA193AEF0}"/>
          </ac:graphicFrameMkLst>
        </pc:graphicFrameChg>
        <pc:picChg chg="add mod">
          <ac:chgData name="Alexander Richwood" userId="6a746949-975a-4404-914f-fa4a61014c27" providerId="ADAL" clId="{782CC63C-34BA-412C-8B3F-F699DA0E32E1}" dt="2021-04-13T09:43:19.210" v="536" actId="1076"/>
          <ac:picMkLst>
            <pc:docMk/>
            <pc:sldMk cId="3040831400" sldId="1844"/>
            <ac:picMk id="5" creationId="{FC50F585-3495-4270-84CA-4EAAB5464D70}"/>
          </ac:picMkLst>
        </pc:picChg>
        <pc:picChg chg="del">
          <ac:chgData name="Alexander Richwood" userId="6a746949-975a-4404-914f-fa4a61014c27" providerId="ADAL" clId="{782CC63C-34BA-412C-8B3F-F699DA0E32E1}" dt="2021-04-13T09:43:16.158" v="535" actId="478"/>
          <ac:picMkLst>
            <pc:docMk/>
            <pc:sldMk cId="3040831400" sldId="1844"/>
            <ac:picMk id="6" creationId="{A88810EC-96AE-4003-90C8-99A86C033EAF}"/>
          </ac:picMkLst>
        </pc:picChg>
      </pc:sldChg>
      <pc:sldChg chg="addSp delSp modSp add mod">
        <pc:chgData name="Alexander Richwood" userId="6a746949-975a-4404-914f-fa4a61014c27" providerId="ADAL" clId="{782CC63C-34BA-412C-8B3F-F699DA0E32E1}" dt="2021-04-13T16:28:24.400" v="13379" actId="1076"/>
        <pc:sldMkLst>
          <pc:docMk/>
          <pc:sldMk cId="3470196079" sldId="1845"/>
        </pc:sldMkLst>
        <pc:spChg chg="mod">
          <ac:chgData name="Alexander Richwood" userId="6a746949-975a-4404-914f-fa4a61014c27" providerId="ADAL" clId="{782CC63C-34BA-412C-8B3F-F699DA0E32E1}" dt="2021-04-13T16:28:24.400" v="13379" actId="1076"/>
          <ac:spMkLst>
            <pc:docMk/>
            <pc:sldMk cId="3470196079" sldId="1845"/>
            <ac:spMk id="2" creationId="{39816C96-C691-4B78-9E0B-E294169B7ECB}"/>
          </ac:spMkLst>
        </pc:spChg>
        <pc:spChg chg="mod">
          <ac:chgData name="Alexander Richwood" userId="6a746949-975a-4404-914f-fa4a61014c27" providerId="ADAL" clId="{782CC63C-34BA-412C-8B3F-F699DA0E32E1}" dt="2021-04-13T12:19:57.870" v="5361" actId="1076"/>
          <ac:spMkLst>
            <pc:docMk/>
            <pc:sldMk cId="3470196079" sldId="1845"/>
            <ac:spMk id="6" creationId="{30CF5A8A-5B98-45EE-9689-20F91AA712C3}"/>
          </ac:spMkLst>
        </pc:spChg>
        <pc:spChg chg="mod">
          <ac:chgData name="Alexander Richwood" userId="6a746949-975a-4404-914f-fa4a61014c27" providerId="ADAL" clId="{782CC63C-34BA-412C-8B3F-F699DA0E32E1}" dt="2021-04-13T12:19:55.045" v="5360" actId="1076"/>
          <ac:spMkLst>
            <pc:docMk/>
            <pc:sldMk cId="3470196079" sldId="1845"/>
            <ac:spMk id="7" creationId="{62A032FA-F5B2-460C-96EB-DB7F5498EF2E}"/>
          </ac:spMkLst>
        </pc:spChg>
        <pc:graphicFrameChg chg="mod modGraphic">
          <ac:chgData name="Alexander Richwood" userId="6a746949-975a-4404-914f-fa4a61014c27" providerId="ADAL" clId="{782CC63C-34BA-412C-8B3F-F699DA0E32E1}" dt="2021-04-13T12:26:29.780" v="5651" actId="20577"/>
          <ac:graphicFrameMkLst>
            <pc:docMk/>
            <pc:sldMk cId="3470196079" sldId="1845"/>
            <ac:graphicFrameMk id="4" creationId="{B5453446-2890-45F6-B15B-23FBA193AEF0}"/>
          </ac:graphicFrameMkLst>
        </pc:graphicFrameChg>
        <pc:picChg chg="add del">
          <ac:chgData name="Alexander Richwood" userId="6a746949-975a-4404-914f-fa4a61014c27" providerId="ADAL" clId="{782CC63C-34BA-412C-8B3F-F699DA0E32E1}" dt="2021-04-13T10:31:04.865" v="3110" actId="21"/>
          <ac:picMkLst>
            <pc:docMk/>
            <pc:sldMk cId="3470196079" sldId="1845"/>
            <ac:picMk id="3" creationId="{6A2AA674-842D-436C-AA42-9EA83E8F3C68}"/>
          </ac:picMkLst>
        </pc:picChg>
        <pc:picChg chg="del">
          <ac:chgData name="Alexander Richwood" userId="6a746949-975a-4404-914f-fa4a61014c27" providerId="ADAL" clId="{782CC63C-34BA-412C-8B3F-F699DA0E32E1}" dt="2021-04-13T10:27:05.270" v="3069" actId="478"/>
          <ac:picMkLst>
            <pc:docMk/>
            <pc:sldMk cId="3470196079" sldId="1845"/>
            <ac:picMk id="5" creationId="{0C84BD58-715E-43A0-AF1E-93E4F23668BB}"/>
          </ac:picMkLst>
        </pc:picChg>
        <pc:picChg chg="add mod">
          <ac:chgData name="Alexander Richwood" userId="6a746949-975a-4404-914f-fa4a61014c27" providerId="ADAL" clId="{782CC63C-34BA-412C-8B3F-F699DA0E32E1}" dt="2021-04-13T10:27:14.171" v="3072"/>
          <ac:picMkLst>
            <pc:docMk/>
            <pc:sldMk cId="3470196079" sldId="1845"/>
            <ac:picMk id="8" creationId="{102E3106-D574-4B32-BE2A-0DE0B737D6B3}"/>
          </ac:picMkLst>
        </pc:picChg>
      </pc:sldChg>
      <pc:sldChg chg="addSp delSp modSp add mod">
        <pc:chgData name="Alexander Richwood" userId="6a746949-975a-4404-914f-fa4a61014c27" providerId="ADAL" clId="{782CC63C-34BA-412C-8B3F-F699DA0E32E1}" dt="2021-04-13T16:43:17.129" v="14155" actId="20577"/>
        <pc:sldMkLst>
          <pc:docMk/>
          <pc:sldMk cId="2107417959" sldId="1846"/>
        </pc:sldMkLst>
        <pc:spChg chg="mod">
          <ac:chgData name="Alexander Richwood" userId="6a746949-975a-4404-914f-fa4a61014c27" providerId="ADAL" clId="{782CC63C-34BA-412C-8B3F-F699DA0E32E1}" dt="2021-04-13T16:28:28.589" v="13380" actId="554"/>
          <ac:spMkLst>
            <pc:docMk/>
            <pc:sldMk cId="2107417959" sldId="1846"/>
            <ac:spMk id="2" creationId="{39816C96-C691-4B78-9E0B-E294169B7ECB}"/>
          </ac:spMkLst>
        </pc:spChg>
        <pc:spChg chg="mod">
          <ac:chgData name="Alexander Richwood" userId="6a746949-975a-4404-914f-fa4a61014c27" providerId="ADAL" clId="{782CC63C-34BA-412C-8B3F-F699DA0E32E1}" dt="2021-04-13T12:21:21.413" v="5362" actId="1076"/>
          <ac:spMkLst>
            <pc:docMk/>
            <pc:sldMk cId="2107417959" sldId="1846"/>
            <ac:spMk id="6" creationId="{30CF5A8A-5B98-45EE-9689-20F91AA712C3}"/>
          </ac:spMkLst>
        </pc:spChg>
        <pc:spChg chg="mod">
          <ac:chgData name="Alexander Richwood" userId="6a746949-975a-4404-914f-fa4a61014c27" providerId="ADAL" clId="{782CC63C-34BA-412C-8B3F-F699DA0E32E1}" dt="2021-04-13T15:55:45.744" v="10523" actId="20577"/>
          <ac:spMkLst>
            <pc:docMk/>
            <pc:sldMk cId="2107417959" sldId="1846"/>
            <ac:spMk id="7" creationId="{62A032FA-F5B2-460C-96EB-DB7F5498EF2E}"/>
          </ac:spMkLst>
        </pc:spChg>
        <pc:graphicFrameChg chg="mod modGraphic">
          <ac:chgData name="Alexander Richwood" userId="6a746949-975a-4404-914f-fa4a61014c27" providerId="ADAL" clId="{782CC63C-34BA-412C-8B3F-F699DA0E32E1}" dt="2021-04-13T16:43:17.129" v="14155" actId="20577"/>
          <ac:graphicFrameMkLst>
            <pc:docMk/>
            <pc:sldMk cId="2107417959" sldId="1846"/>
            <ac:graphicFrameMk id="4" creationId="{B5453446-2890-45F6-B15B-23FBA193AEF0}"/>
          </ac:graphicFrameMkLst>
        </pc:graphicFrameChg>
        <pc:picChg chg="del">
          <ac:chgData name="Alexander Richwood" userId="6a746949-975a-4404-914f-fa4a61014c27" providerId="ADAL" clId="{782CC63C-34BA-412C-8B3F-F699DA0E32E1}" dt="2021-04-13T10:28:09.557" v="3086" actId="478"/>
          <ac:picMkLst>
            <pc:docMk/>
            <pc:sldMk cId="2107417959" sldId="1846"/>
            <ac:picMk id="8" creationId="{102E3106-D574-4B32-BE2A-0DE0B737D6B3}"/>
          </ac:picMkLst>
        </pc:picChg>
        <pc:picChg chg="add mod">
          <ac:chgData name="Alexander Richwood" userId="6a746949-975a-4404-914f-fa4a61014c27" providerId="ADAL" clId="{782CC63C-34BA-412C-8B3F-F699DA0E32E1}" dt="2021-04-13T16:28:28.589" v="13380" actId="554"/>
          <ac:picMkLst>
            <pc:docMk/>
            <pc:sldMk cId="2107417959" sldId="1846"/>
            <ac:picMk id="9" creationId="{87830215-3FE2-4061-97A9-74DA1E03A1A8}"/>
          </ac:picMkLst>
        </pc:picChg>
      </pc:sldChg>
      <pc:sldChg chg="addSp delSp modSp add mod">
        <pc:chgData name="Alexander Richwood" userId="6a746949-975a-4404-914f-fa4a61014c27" providerId="ADAL" clId="{782CC63C-34BA-412C-8B3F-F699DA0E32E1}" dt="2021-04-13T16:29:41.919" v="13456" actId="20577"/>
        <pc:sldMkLst>
          <pc:docMk/>
          <pc:sldMk cId="1142908356" sldId="1847"/>
        </pc:sldMkLst>
        <pc:spChg chg="mod">
          <ac:chgData name="Alexander Richwood" userId="6a746949-975a-4404-914f-fa4a61014c27" providerId="ADAL" clId="{782CC63C-34BA-412C-8B3F-F699DA0E32E1}" dt="2021-04-13T16:28:33.224" v="13381" actId="554"/>
          <ac:spMkLst>
            <pc:docMk/>
            <pc:sldMk cId="1142908356" sldId="1847"/>
            <ac:spMk id="2" creationId="{39816C96-C691-4B78-9E0B-E294169B7ECB}"/>
          </ac:spMkLst>
        </pc:spChg>
        <pc:spChg chg="mod">
          <ac:chgData name="Alexander Richwood" userId="6a746949-975a-4404-914f-fa4a61014c27" providerId="ADAL" clId="{782CC63C-34BA-412C-8B3F-F699DA0E32E1}" dt="2021-04-13T13:50:26.401" v="8481" actId="1076"/>
          <ac:spMkLst>
            <pc:docMk/>
            <pc:sldMk cId="1142908356" sldId="1847"/>
            <ac:spMk id="6" creationId="{30CF5A8A-5B98-45EE-9689-20F91AA712C3}"/>
          </ac:spMkLst>
        </pc:spChg>
        <pc:spChg chg="mod">
          <ac:chgData name="Alexander Richwood" userId="6a746949-975a-4404-914f-fa4a61014c27" providerId="ADAL" clId="{782CC63C-34BA-412C-8B3F-F699DA0E32E1}" dt="2021-04-13T15:58:56.891" v="10988" actId="20577"/>
          <ac:spMkLst>
            <pc:docMk/>
            <pc:sldMk cId="1142908356" sldId="1847"/>
            <ac:spMk id="7" creationId="{62A032FA-F5B2-460C-96EB-DB7F5498EF2E}"/>
          </ac:spMkLst>
        </pc:spChg>
        <pc:graphicFrameChg chg="mod modGraphic">
          <ac:chgData name="Alexander Richwood" userId="6a746949-975a-4404-914f-fa4a61014c27" providerId="ADAL" clId="{782CC63C-34BA-412C-8B3F-F699DA0E32E1}" dt="2021-04-13T16:29:41.919" v="13456" actId="20577"/>
          <ac:graphicFrameMkLst>
            <pc:docMk/>
            <pc:sldMk cId="1142908356" sldId="1847"/>
            <ac:graphicFrameMk id="4" creationId="{B5453446-2890-45F6-B15B-23FBA193AEF0}"/>
          </ac:graphicFrameMkLst>
        </pc:graphicFrameChg>
        <pc:picChg chg="add mod">
          <ac:chgData name="Alexander Richwood" userId="6a746949-975a-4404-914f-fa4a61014c27" providerId="ADAL" clId="{782CC63C-34BA-412C-8B3F-F699DA0E32E1}" dt="2021-04-13T16:28:33.224" v="13381" actId="554"/>
          <ac:picMkLst>
            <pc:docMk/>
            <pc:sldMk cId="1142908356" sldId="1847"/>
            <ac:picMk id="8" creationId="{F2CDCE7F-7E35-45D3-AE9E-1D906A1A19BF}"/>
          </ac:picMkLst>
        </pc:picChg>
        <pc:picChg chg="del">
          <ac:chgData name="Alexander Richwood" userId="6a746949-975a-4404-914f-fa4a61014c27" providerId="ADAL" clId="{782CC63C-34BA-412C-8B3F-F699DA0E32E1}" dt="2021-04-13T10:28:46.176" v="3091" actId="478"/>
          <ac:picMkLst>
            <pc:docMk/>
            <pc:sldMk cId="1142908356" sldId="1847"/>
            <ac:picMk id="9" creationId="{87830215-3FE2-4061-97A9-74DA1E03A1A8}"/>
          </ac:picMkLst>
        </pc:picChg>
      </pc:sldChg>
      <pc:sldChg chg="addSp delSp modSp add mod">
        <pc:chgData name="Alexander Richwood" userId="6a746949-975a-4404-914f-fa4a61014c27" providerId="ADAL" clId="{782CC63C-34BA-412C-8B3F-F699DA0E32E1}" dt="2021-04-13T16:28:38.676" v="13382" actId="554"/>
        <pc:sldMkLst>
          <pc:docMk/>
          <pc:sldMk cId="1391998556" sldId="1848"/>
        </pc:sldMkLst>
        <pc:spChg chg="mod">
          <ac:chgData name="Alexander Richwood" userId="6a746949-975a-4404-914f-fa4a61014c27" providerId="ADAL" clId="{782CC63C-34BA-412C-8B3F-F699DA0E32E1}" dt="2021-04-13T16:28:38.676" v="13382" actId="554"/>
          <ac:spMkLst>
            <pc:docMk/>
            <pc:sldMk cId="1391998556" sldId="1848"/>
            <ac:spMk id="2" creationId="{39816C96-C691-4B78-9E0B-E294169B7ECB}"/>
          </ac:spMkLst>
        </pc:spChg>
        <pc:spChg chg="mod">
          <ac:chgData name="Alexander Richwood" userId="6a746949-975a-4404-914f-fa4a61014c27" providerId="ADAL" clId="{782CC63C-34BA-412C-8B3F-F699DA0E32E1}" dt="2021-04-13T15:58:25.188" v="10905" actId="20577"/>
          <ac:spMkLst>
            <pc:docMk/>
            <pc:sldMk cId="1391998556" sldId="1848"/>
            <ac:spMk id="7" creationId="{62A032FA-F5B2-460C-96EB-DB7F5498EF2E}"/>
          </ac:spMkLst>
        </pc:spChg>
        <pc:spChg chg="add del mod">
          <ac:chgData name="Alexander Richwood" userId="6a746949-975a-4404-914f-fa4a61014c27" providerId="ADAL" clId="{782CC63C-34BA-412C-8B3F-F699DA0E32E1}" dt="2021-04-13T10:30:12.550" v="3103" actId="478"/>
          <ac:spMkLst>
            <pc:docMk/>
            <pc:sldMk cId="1391998556" sldId="1848"/>
            <ac:spMk id="10" creationId="{35CAB1CA-E3C6-48AC-AD0F-A6C889D9FB9E}"/>
          </ac:spMkLst>
        </pc:spChg>
        <pc:graphicFrameChg chg="mod modGraphic">
          <ac:chgData name="Alexander Richwood" userId="6a746949-975a-4404-914f-fa4a61014c27" providerId="ADAL" clId="{782CC63C-34BA-412C-8B3F-F699DA0E32E1}" dt="2021-04-13T15:55:32.892" v="10518" actId="113"/>
          <ac:graphicFrameMkLst>
            <pc:docMk/>
            <pc:sldMk cId="1391998556" sldId="1848"/>
            <ac:graphicFrameMk id="4" creationId="{B5453446-2890-45F6-B15B-23FBA193AEF0}"/>
          </ac:graphicFrameMkLst>
        </pc:graphicFrameChg>
        <pc:picChg chg="del">
          <ac:chgData name="Alexander Richwood" userId="6a746949-975a-4404-914f-fa4a61014c27" providerId="ADAL" clId="{782CC63C-34BA-412C-8B3F-F699DA0E32E1}" dt="2021-04-13T10:30:03.858" v="3101" actId="478"/>
          <ac:picMkLst>
            <pc:docMk/>
            <pc:sldMk cId="1391998556" sldId="1848"/>
            <ac:picMk id="8" creationId="{F2CDCE7F-7E35-45D3-AE9E-1D906A1A19BF}"/>
          </ac:picMkLst>
        </pc:picChg>
        <pc:picChg chg="add mod">
          <ac:chgData name="Alexander Richwood" userId="6a746949-975a-4404-914f-fa4a61014c27" providerId="ADAL" clId="{782CC63C-34BA-412C-8B3F-F699DA0E32E1}" dt="2021-04-13T16:28:38.676" v="13382" actId="554"/>
          <ac:picMkLst>
            <pc:docMk/>
            <pc:sldMk cId="1391998556" sldId="1848"/>
            <ac:picMk id="9" creationId="{A41E113F-24D7-460F-B8E7-EF402A47DBF8}"/>
          </ac:picMkLst>
        </pc:picChg>
      </pc:sldChg>
      <pc:sldChg chg="addSp delSp modSp new mod modClrScheme chgLayout">
        <pc:chgData name="Alexander Richwood" userId="6a746949-975a-4404-914f-fa4a61014c27" providerId="ADAL" clId="{782CC63C-34BA-412C-8B3F-F699DA0E32E1}" dt="2021-04-13T18:38:09.072" v="17511" actId="1076"/>
        <pc:sldMkLst>
          <pc:docMk/>
          <pc:sldMk cId="635572734" sldId="1849"/>
        </pc:sldMkLst>
        <pc:spChg chg="del mod ord">
          <ac:chgData name="Alexander Richwood" userId="6a746949-975a-4404-914f-fa4a61014c27" providerId="ADAL" clId="{782CC63C-34BA-412C-8B3F-F699DA0E32E1}" dt="2021-04-13T18:32:16.257" v="16760" actId="700"/>
          <ac:spMkLst>
            <pc:docMk/>
            <pc:sldMk cId="635572734" sldId="1849"/>
            <ac:spMk id="2" creationId="{C506BB0A-BC47-47B1-AFDE-6E509EC6CCB9}"/>
          </ac:spMkLst>
        </pc:spChg>
        <pc:spChg chg="del mod ord">
          <ac:chgData name="Alexander Richwood" userId="6a746949-975a-4404-914f-fa4a61014c27" providerId="ADAL" clId="{782CC63C-34BA-412C-8B3F-F699DA0E32E1}" dt="2021-04-13T18:32:16.257" v="16760" actId="700"/>
          <ac:spMkLst>
            <pc:docMk/>
            <pc:sldMk cId="635572734" sldId="1849"/>
            <ac:spMk id="3" creationId="{6F1D51C6-3D5C-4176-9A3A-F0BA188E36D6}"/>
          </ac:spMkLst>
        </pc:spChg>
        <pc:spChg chg="del">
          <ac:chgData name="Alexander Richwood" userId="6a746949-975a-4404-914f-fa4a61014c27" providerId="ADAL" clId="{782CC63C-34BA-412C-8B3F-F699DA0E32E1}" dt="2021-04-13T18:32:16.257" v="16760" actId="700"/>
          <ac:spMkLst>
            <pc:docMk/>
            <pc:sldMk cId="635572734" sldId="1849"/>
            <ac:spMk id="4" creationId="{38556AFC-8C28-455C-9F5A-1D093ED142D8}"/>
          </ac:spMkLst>
        </pc:spChg>
        <pc:spChg chg="add mod ord">
          <ac:chgData name="Alexander Richwood" userId="6a746949-975a-4404-914f-fa4a61014c27" providerId="ADAL" clId="{782CC63C-34BA-412C-8B3F-F699DA0E32E1}" dt="2021-04-13T18:38:09.072" v="17511" actId="1076"/>
          <ac:spMkLst>
            <pc:docMk/>
            <pc:sldMk cId="635572734" sldId="1849"/>
            <ac:spMk id="5" creationId="{8C8E2F0F-5138-4267-B06A-D7A83A59227B}"/>
          </ac:spMkLst>
        </pc:spChg>
        <pc:spChg chg="add mod ord">
          <ac:chgData name="Alexander Richwood" userId="6a746949-975a-4404-914f-fa4a61014c27" providerId="ADAL" clId="{782CC63C-34BA-412C-8B3F-F699DA0E32E1}" dt="2021-04-13T18:38:05.541" v="17510" actId="1076"/>
          <ac:spMkLst>
            <pc:docMk/>
            <pc:sldMk cId="635572734" sldId="1849"/>
            <ac:spMk id="6" creationId="{22E9B9B8-F59C-4310-B497-760D776B5D2D}"/>
          </ac:spMkLst>
        </pc:spChg>
        <pc:spChg chg="add mod ord">
          <ac:chgData name="Alexander Richwood" userId="6a746949-975a-4404-914f-fa4a61014c27" providerId="ADAL" clId="{782CC63C-34BA-412C-8B3F-F699DA0E32E1}" dt="2021-04-13T18:38:05.541" v="17510" actId="1076"/>
          <ac:spMkLst>
            <pc:docMk/>
            <pc:sldMk cId="635572734" sldId="1849"/>
            <ac:spMk id="7" creationId="{A57391F5-B5F3-41CC-B1EF-906EC72AAE90}"/>
          </ac:spMkLst>
        </pc:spChg>
      </pc:sldChg>
      <pc:sldChg chg="addSp delSp modSp new del mod">
        <pc:chgData name="Alexander Richwood" userId="6a746949-975a-4404-914f-fa4a61014c27" providerId="ADAL" clId="{782CC63C-34BA-412C-8B3F-F699DA0E32E1}" dt="2021-04-13T10:31:30.302" v="3117" actId="47"/>
        <pc:sldMkLst>
          <pc:docMk/>
          <pc:sldMk cId="2281932452" sldId="1849"/>
        </pc:sldMkLst>
        <pc:spChg chg="del">
          <ac:chgData name="Alexander Richwood" userId="6a746949-975a-4404-914f-fa4a61014c27" providerId="ADAL" clId="{782CC63C-34BA-412C-8B3F-F699DA0E32E1}" dt="2021-04-13T10:31:07.989" v="3111" actId="478"/>
          <ac:spMkLst>
            <pc:docMk/>
            <pc:sldMk cId="2281932452" sldId="1849"/>
            <ac:spMk id="2" creationId="{0E329E95-C3ED-4717-A985-9A038F44071A}"/>
          </ac:spMkLst>
        </pc:spChg>
        <pc:spChg chg="del">
          <ac:chgData name="Alexander Richwood" userId="6a746949-975a-4404-914f-fa4a61014c27" providerId="ADAL" clId="{782CC63C-34BA-412C-8B3F-F699DA0E32E1}" dt="2021-04-13T10:31:07.989" v="3111" actId="478"/>
          <ac:spMkLst>
            <pc:docMk/>
            <pc:sldMk cId="2281932452" sldId="1849"/>
            <ac:spMk id="3" creationId="{78663969-B0CB-4318-8DBA-73AF4475EDBB}"/>
          </ac:spMkLst>
        </pc:spChg>
        <pc:picChg chg="add del mod">
          <ac:chgData name="Alexander Richwood" userId="6a746949-975a-4404-914f-fa4a61014c27" providerId="ADAL" clId="{782CC63C-34BA-412C-8B3F-F699DA0E32E1}" dt="2021-04-13T10:31:25.370" v="3116" actId="478"/>
          <ac:picMkLst>
            <pc:docMk/>
            <pc:sldMk cId="2281932452" sldId="1849"/>
            <ac:picMk id="4" creationId="{AF218047-9DDE-471C-B006-56E3C719E00A}"/>
          </ac:picMkLst>
        </pc:picChg>
      </pc:sldChg>
      <pc:sldMasterChg chg="delSldLayout">
        <pc:chgData name="Alexander Richwood" userId="6a746949-975a-4404-914f-fa4a61014c27" providerId="ADAL" clId="{782CC63C-34BA-412C-8B3F-F699DA0E32E1}" dt="2021-04-13T18:00:29.117" v="16653" actId="47"/>
        <pc:sldMasterMkLst>
          <pc:docMk/>
          <pc:sldMasterMk cId="1518201889" sldId="2147483648"/>
        </pc:sldMasterMkLst>
        <pc:sldLayoutChg chg="del">
          <pc:chgData name="Alexander Richwood" userId="6a746949-975a-4404-914f-fa4a61014c27" providerId="ADAL" clId="{782CC63C-34BA-412C-8B3F-F699DA0E32E1}" dt="2021-04-13T18:00:29.117" v="16653" actId="47"/>
          <pc:sldLayoutMkLst>
            <pc:docMk/>
            <pc:sldMasterMk cId="1518201889" sldId="2147483648"/>
            <pc:sldLayoutMk cId="1363246916" sldId="2147483675"/>
          </pc:sldLayoutMkLst>
        </pc:sldLayoutChg>
      </pc:sldMasterChg>
    </pc:docChg>
  </pc:docChgLst>
  <pc:docChgLst>
    <pc:chgData name="Gareth Allott" userId="d67bc1e7-5e6e-4540-bcf9-468a02f7a83e" providerId="ADAL" clId="{A6953F22-B3D7-44E2-95D8-618B05979EFE}"/>
    <pc:docChg chg="undo custSel addSld modSld">
      <pc:chgData name="Gareth Allott" userId="d67bc1e7-5e6e-4540-bcf9-468a02f7a83e" providerId="ADAL" clId="{A6953F22-B3D7-44E2-95D8-618B05979EFE}" dt="2021-05-06T15:52:51.404" v="1725" actId="1035"/>
      <pc:docMkLst>
        <pc:docMk/>
      </pc:docMkLst>
      <pc:sldChg chg="addSp delSp modSp new mod modClrScheme chgLayout">
        <pc:chgData name="Gareth Allott" userId="d67bc1e7-5e6e-4540-bcf9-468a02f7a83e" providerId="ADAL" clId="{A6953F22-B3D7-44E2-95D8-618B05979EFE}" dt="2021-05-06T15:52:51.404" v="1725" actId="1035"/>
        <pc:sldMkLst>
          <pc:docMk/>
          <pc:sldMk cId="825557404" sldId="1857"/>
        </pc:sldMkLst>
        <pc:spChg chg="del mod ord">
          <ac:chgData name="Gareth Allott" userId="d67bc1e7-5e6e-4540-bcf9-468a02f7a83e" providerId="ADAL" clId="{A6953F22-B3D7-44E2-95D8-618B05979EFE}" dt="2021-05-06T10:43:53.150" v="1" actId="700"/>
          <ac:spMkLst>
            <pc:docMk/>
            <pc:sldMk cId="825557404" sldId="1857"/>
            <ac:spMk id="2" creationId="{61093702-1754-49D6-A790-B9B5BDA30A49}"/>
          </ac:spMkLst>
        </pc:spChg>
        <pc:spChg chg="del">
          <ac:chgData name="Gareth Allott" userId="d67bc1e7-5e6e-4540-bcf9-468a02f7a83e" providerId="ADAL" clId="{A6953F22-B3D7-44E2-95D8-618B05979EFE}" dt="2021-05-06T10:43:53.150" v="1" actId="700"/>
          <ac:spMkLst>
            <pc:docMk/>
            <pc:sldMk cId="825557404" sldId="1857"/>
            <ac:spMk id="3" creationId="{32ACE9B3-F62E-4D8B-85AD-A4BEE4305419}"/>
          </ac:spMkLst>
        </pc:spChg>
        <pc:spChg chg="add mod ord">
          <ac:chgData name="Gareth Allott" userId="d67bc1e7-5e6e-4540-bcf9-468a02f7a83e" providerId="ADAL" clId="{A6953F22-B3D7-44E2-95D8-618B05979EFE}" dt="2021-05-06T15:52:51.404" v="1725" actId="1035"/>
          <ac:spMkLst>
            <pc:docMk/>
            <pc:sldMk cId="825557404" sldId="1857"/>
            <ac:spMk id="4" creationId="{10B03CFB-0ACA-4EC5-8F60-3AA689077DD4}"/>
          </ac:spMkLst>
        </pc:spChg>
      </pc:sldChg>
      <pc:sldChg chg="addSp delSp modSp new mod modClrScheme chgLayout">
        <pc:chgData name="Gareth Allott" userId="d67bc1e7-5e6e-4540-bcf9-468a02f7a83e" providerId="ADAL" clId="{A6953F22-B3D7-44E2-95D8-618B05979EFE}" dt="2021-05-06T11:01:25.410" v="1211" actId="207"/>
        <pc:sldMkLst>
          <pc:docMk/>
          <pc:sldMk cId="3275638067" sldId="1858"/>
        </pc:sldMkLst>
        <pc:spChg chg="del mod ord">
          <ac:chgData name="Gareth Allott" userId="d67bc1e7-5e6e-4540-bcf9-468a02f7a83e" providerId="ADAL" clId="{A6953F22-B3D7-44E2-95D8-618B05979EFE}" dt="2021-05-06T10:44:09.608" v="30" actId="700"/>
          <ac:spMkLst>
            <pc:docMk/>
            <pc:sldMk cId="3275638067" sldId="1858"/>
            <ac:spMk id="2" creationId="{80A37AEC-7375-41BE-815B-FA182704C32B}"/>
          </ac:spMkLst>
        </pc:spChg>
        <pc:spChg chg="add del mod ord">
          <ac:chgData name="Gareth Allott" userId="d67bc1e7-5e6e-4540-bcf9-468a02f7a83e" providerId="ADAL" clId="{A6953F22-B3D7-44E2-95D8-618B05979EFE}" dt="2021-05-06T10:44:12.399" v="31" actId="700"/>
          <ac:spMkLst>
            <pc:docMk/>
            <pc:sldMk cId="3275638067" sldId="1858"/>
            <ac:spMk id="3" creationId="{68D75254-273B-4C6E-88AD-D1D2D6F56E68}"/>
          </ac:spMkLst>
        </pc:spChg>
        <pc:spChg chg="add del mod ord">
          <ac:chgData name="Gareth Allott" userId="d67bc1e7-5e6e-4540-bcf9-468a02f7a83e" providerId="ADAL" clId="{A6953F22-B3D7-44E2-95D8-618B05979EFE}" dt="2021-05-06T10:44:12.399" v="31" actId="700"/>
          <ac:spMkLst>
            <pc:docMk/>
            <pc:sldMk cId="3275638067" sldId="1858"/>
            <ac:spMk id="4" creationId="{59F12F73-79E0-454D-A42E-4E22B4174F4C}"/>
          </ac:spMkLst>
        </pc:spChg>
        <pc:spChg chg="add mod ord">
          <ac:chgData name="Gareth Allott" userId="d67bc1e7-5e6e-4540-bcf9-468a02f7a83e" providerId="ADAL" clId="{A6953F22-B3D7-44E2-95D8-618B05979EFE}" dt="2021-05-06T10:44:19.618" v="53" actId="20577"/>
          <ac:spMkLst>
            <pc:docMk/>
            <pc:sldMk cId="3275638067" sldId="1858"/>
            <ac:spMk id="5" creationId="{F2C6102A-B52C-4A5B-91B0-2129372A97CE}"/>
          </ac:spMkLst>
        </pc:spChg>
        <pc:spChg chg="add del mod ord">
          <ac:chgData name="Gareth Allott" userId="d67bc1e7-5e6e-4540-bcf9-468a02f7a83e" providerId="ADAL" clId="{A6953F22-B3D7-44E2-95D8-618B05979EFE}" dt="2021-05-06T10:55:33.150" v="908" actId="478"/>
          <ac:spMkLst>
            <pc:docMk/>
            <pc:sldMk cId="3275638067" sldId="1858"/>
            <ac:spMk id="6" creationId="{E4111649-A0A5-4F46-B9AF-1FECD1374140}"/>
          </ac:spMkLst>
        </pc:spChg>
        <pc:spChg chg="add mod">
          <ac:chgData name="Gareth Allott" userId="d67bc1e7-5e6e-4540-bcf9-468a02f7a83e" providerId="ADAL" clId="{A6953F22-B3D7-44E2-95D8-618B05979EFE}" dt="2021-05-06T10:57:49.704" v="1062" actId="14100"/>
          <ac:spMkLst>
            <pc:docMk/>
            <pc:sldMk cId="3275638067" sldId="1858"/>
            <ac:spMk id="7" creationId="{425B1150-B8C1-4A10-A2F2-A31EBB03BE73}"/>
          </ac:spMkLst>
        </pc:spChg>
        <pc:spChg chg="add mod">
          <ac:chgData name="Gareth Allott" userId="d67bc1e7-5e6e-4540-bcf9-468a02f7a83e" providerId="ADAL" clId="{A6953F22-B3D7-44E2-95D8-618B05979EFE}" dt="2021-05-06T10:55:59.821" v="1007" actId="207"/>
          <ac:spMkLst>
            <pc:docMk/>
            <pc:sldMk cId="3275638067" sldId="1858"/>
            <ac:spMk id="8" creationId="{B46B753D-763C-4524-AE43-FF85BC9830FB}"/>
          </ac:spMkLst>
        </pc:spChg>
        <pc:spChg chg="add mod">
          <ac:chgData name="Gareth Allott" userId="d67bc1e7-5e6e-4540-bcf9-468a02f7a83e" providerId="ADAL" clId="{A6953F22-B3D7-44E2-95D8-618B05979EFE}" dt="2021-05-06T10:59:06.263" v="1155" actId="1037"/>
          <ac:spMkLst>
            <pc:docMk/>
            <pc:sldMk cId="3275638067" sldId="1858"/>
            <ac:spMk id="13" creationId="{59AE52DE-17AF-40BA-8AF6-F63F3111C740}"/>
          </ac:spMkLst>
        </pc:spChg>
        <pc:spChg chg="add del mod">
          <ac:chgData name="Gareth Allott" userId="d67bc1e7-5e6e-4540-bcf9-468a02f7a83e" providerId="ADAL" clId="{A6953F22-B3D7-44E2-95D8-618B05979EFE}" dt="2021-05-06T11:00:23.509" v="1157"/>
          <ac:spMkLst>
            <pc:docMk/>
            <pc:sldMk cId="3275638067" sldId="1858"/>
            <ac:spMk id="17" creationId="{AC622513-37E9-40E0-AE48-E4694DDBAE1F}"/>
          </ac:spMkLst>
        </pc:spChg>
        <pc:spChg chg="add mod">
          <ac:chgData name="Gareth Allott" userId="d67bc1e7-5e6e-4540-bcf9-468a02f7a83e" providerId="ADAL" clId="{A6953F22-B3D7-44E2-95D8-618B05979EFE}" dt="2021-05-06T11:01:25.410" v="1211" actId="207"/>
          <ac:spMkLst>
            <pc:docMk/>
            <pc:sldMk cId="3275638067" sldId="1858"/>
            <ac:spMk id="20" creationId="{D3219C7C-CAFE-46B9-A634-C52D9DF3ED7D}"/>
          </ac:spMkLst>
        </pc:spChg>
        <pc:graphicFrameChg chg="add del mod">
          <ac:chgData name="Gareth Allott" userId="d67bc1e7-5e6e-4540-bcf9-468a02f7a83e" providerId="ADAL" clId="{A6953F22-B3D7-44E2-95D8-618B05979EFE}" dt="2021-05-06T11:00:23.509" v="1157"/>
          <ac:graphicFrameMkLst>
            <pc:docMk/>
            <pc:sldMk cId="3275638067" sldId="1858"/>
            <ac:graphicFrameMk id="16" creationId="{DE309CD6-2CC9-496C-8C2B-8A925046D2BA}"/>
          </ac:graphicFrameMkLst>
        </pc:graphicFrameChg>
        <pc:picChg chg="add mod">
          <ac:chgData name="Gareth Allott" userId="d67bc1e7-5e6e-4540-bcf9-468a02f7a83e" providerId="ADAL" clId="{A6953F22-B3D7-44E2-95D8-618B05979EFE}" dt="2021-05-06T10:59:04.152" v="1142" actId="1037"/>
          <ac:picMkLst>
            <pc:docMk/>
            <pc:sldMk cId="3275638067" sldId="1858"/>
            <ac:picMk id="10" creationId="{FC5B8DB3-2698-419D-907E-E883F3BBCCB2}"/>
          </ac:picMkLst>
        </pc:picChg>
        <pc:picChg chg="add mod">
          <ac:chgData name="Gareth Allott" userId="d67bc1e7-5e6e-4540-bcf9-468a02f7a83e" providerId="ADAL" clId="{A6953F22-B3D7-44E2-95D8-618B05979EFE}" dt="2021-05-06T10:59:06.263" v="1155" actId="1037"/>
          <ac:picMkLst>
            <pc:docMk/>
            <pc:sldMk cId="3275638067" sldId="1858"/>
            <ac:picMk id="12" creationId="{FD20B339-70CE-4117-A05B-E43EB056C34B}"/>
          </ac:picMkLst>
        </pc:picChg>
        <pc:picChg chg="add mod">
          <ac:chgData name="Gareth Allott" userId="d67bc1e7-5e6e-4540-bcf9-468a02f7a83e" providerId="ADAL" clId="{A6953F22-B3D7-44E2-95D8-618B05979EFE}" dt="2021-05-06T10:59:06.263" v="1155" actId="1037"/>
          <ac:picMkLst>
            <pc:docMk/>
            <pc:sldMk cId="3275638067" sldId="1858"/>
            <ac:picMk id="14" creationId="{931DAFF5-AE48-44A9-84C9-52948DE4AF1F}"/>
          </ac:picMkLst>
        </pc:picChg>
        <pc:picChg chg="add mod">
          <ac:chgData name="Gareth Allott" userId="d67bc1e7-5e6e-4540-bcf9-468a02f7a83e" providerId="ADAL" clId="{A6953F22-B3D7-44E2-95D8-618B05979EFE}" dt="2021-05-06T10:59:04.152" v="1142" actId="1037"/>
          <ac:picMkLst>
            <pc:docMk/>
            <pc:sldMk cId="3275638067" sldId="1858"/>
            <ac:picMk id="15" creationId="{A401CF75-6138-4A82-AAB8-C73B2579E383}"/>
          </ac:picMkLst>
        </pc:picChg>
        <pc:picChg chg="add mod">
          <ac:chgData name="Gareth Allott" userId="d67bc1e7-5e6e-4540-bcf9-468a02f7a83e" providerId="ADAL" clId="{A6953F22-B3D7-44E2-95D8-618B05979EFE}" dt="2021-05-06T11:00:34.339" v="1191" actId="1035"/>
          <ac:picMkLst>
            <pc:docMk/>
            <pc:sldMk cId="3275638067" sldId="1858"/>
            <ac:picMk id="18" creationId="{F0C15611-3E23-4B0B-BEE6-8E6431E71CC2}"/>
          </ac:picMkLst>
        </pc:picChg>
        <pc:picChg chg="add mod">
          <ac:chgData name="Gareth Allott" userId="d67bc1e7-5e6e-4540-bcf9-468a02f7a83e" providerId="ADAL" clId="{A6953F22-B3D7-44E2-95D8-618B05979EFE}" dt="2021-05-06T11:00:51.266" v="1193" actId="1076"/>
          <ac:picMkLst>
            <pc:docMk/>
            <pc:sldMk cId="3275638067" sldId="1858"/>
            <ac:picMk id="19" creationId="{DE9D8B91-5A6F-4F88-B7C4-0737258927BB}"/>
          </ac:picMkLst>
        </pc:picChg>
      </pc:sldChg>
      <pc:sldChg chg="addSp delSp modSp add mod">
        <pc:chgData name="Gareth Allott" userId="d67bc1e7-5e6e-4540-bcf9-468a02f7a83e" providerId="ADAL" clId="{A6953F22-B3D7-44E2-95D8-618B05979EFE}" dt="2021-05-06T12:36:56.065" v="1707" actId="113"/>
        <pc:sldMkLst>
          <pc:docMk/>
          <pc:sldMk cId="4002595347" sldId="1859"/>
        </pc:sldMkLst>
        <pc:spChg chg="add mod">
          <ac:chgData name="Gareth Allott" userId="d67bc1e7-5e6e-4540-bcf9-468a02f7a83e" providerId="ADAL" clId="{A6953F22-B3D7-44E2-95D8-618B05979EFE}" dt="2021-05-06T12:33:36.072" v="1511" actId="1035"/>
          <ac:spMkLst>
            <pc:docMk/>
            <pc:sldMk cId="4002595347" sldId="1859"/>
            <ac:spMk id="4" creationId="{D1250404-6021-4AA4-A0ED-2AAA9117E380}"/>
          </ac:spMkLst>
        </pc:spChg>
        <pc:spChg chg="mod">
          <ac:chgData name="Gareth Allott" userId="d67bc1e7-5e6e-4540-bcf9-468a02f7a83e" providerId="ADAL" clId="{A6953F22-B3D7-44E2-95D8-618B05979EFE}" dt="2021-05-06T12:30:27.441" v="1294" actId="20577"/>
          <ac:spMkLst>
            <pc:docMk/>
            <pc:sldMk cId="4002595347" sldId="1859"/>
            <ac:spMk id="5" creationId="{F2C6102A-B52C-4A5B-91B0-2129372A97CE}"/>
          </ac:spMkLst>
        </pc:spChg>
        <pc:spChg chg="del">
          <ac:chgData name="Gareth Allott" userId="d67bc1e7-5e6e-4540-bcf9-468a02f7a83e" providerId="ADAL" clId="{A6953F22-B3D7-44E2-95D8-618B05979EFE}" dt="2021-05-06T12:29:42.536" v="1213" actId="478"/>
          <ac:spMkLst>
            <pc:docMk/>
            <pc:sldMk cId="4002595347" sldId="1859"/>
            <ac:spMk id="6" creationId="{E4111649-A0A5-4F46-B9AF-1FECD1374140}"/>
          </ac:spMkLst>
        </pc:spChg>
        <pc:spChg chg="add mod">
          <ac:chgData name="Gareth Allott" userId="d67bc1e7-5e6e-4540-bcf9-468a02f7a83e" providerId="ADAL" clId="{A6953F22-B3D7-44E2-95D8-618B05979EFE}" dt="2021-05-06T12:33:36.072" v="1511" actId="1035"/>
          <ac:spMkLst>
            <pc:docMk/>
            <pc:sldMk cId="4002595347" sldId="1859"/>
            <ac:spMk id="7" creationId="{D13938D1-5022-4A8D-AFFF-512AC4360E61}"/>
          </ac:spMkLst>
        </pc:spChg>
        <pc:spChg chg="add mod">
          <ac:chgData name="Gareth Allott" userId="d67bc1e7-5e6e-4540-bcf9-468a02f7a83e" providerId="ADAL" clId="{A6953F22-B3D7-44E2-95D8-618B05979EFE}" dt="2021-05-06T12:33:36.072" v="1511" actId="1035"/>
          <ac:spMkLst>
            <pc:docMk/>
            <pc:sldMk cId="4002595347" sldId="1859"/>
            <ac:spMk id="8" creationId="{57E59218-4808-4882-9BB0-C50E9D64A4FD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12" creationId="{71114FED-C88C-49AE-8EE8-AC04757C1533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13" creationId="{89DC0B41-377B-47F4-B7B7-10B5214379E3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14" creationId="{AE658ACC-EE89-45F3-80E6-AC60BA5F7F3C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15" creationId="{05A34AD6-8770-4B0B-8FF8-E2A9E06E4777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16" creationId="{1717826A-77AD-43CA-8E6D-502B3AD65A3E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17" creationId="{E0AEAF33-FBB7-40D1-9398-E1EC8C43D392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18" creationId="{6D0878C5-DFB6-4193-8B35-41466C4121B7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19" creationId="{C743EC7D-A2EB-4F9B-A398-497DD0BB825C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20" creationId="{88D3ED20-FAF2-495E-8E89-3C410742BFAF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21" creationId="{B6F3CD30-CF14-4615-90C7-13FEE1AB4171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22" creationId="{174C6A5E-C340-4B38-A395-3755646DA1F5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23" creationId="{D2CD8727-A37B-44D2-B694-649E0CCAD1DB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24" creationId="{2AE482D8-755F-4BFC-9097-AB4A8C67B919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25" creationId="{32799AB0-3B4F-40B1-85A8-270B49982DA8}"/>
          </ac:spMkLst>
        </pc:spChg>
        <pc:spChg chg="add mod">
          <ac:chgData name="Gareth Allott" userId="d67bc1e7-5e6e-4540-bcf9-468a02f7a83e" providerId="ADAL" clId="{A6953F22-B3D7-44E2-95D8-618B05979EFE}" dt="2021-05-06T12:36:56.065" v="1707" actId="113"/>
          <ac:spMkLst>
            <pc:docMk/>
            <pc:sldMk cId="4002595347" sldId="1859"/>
            <ac:spMk id="26" creationId="{12BDB947-0800-4DA7-994D-42339D6183A8}"/>
          </ac:spMkLst>
        </pc:spChg>
        <pc:picChg chg="add mod">
          <ac:chgData name="Gareth Allott" userId="d67bc1e7-5e6e-4540-bcf9-468a02f7a83e" providerId="ADAL" clId="{A6953F22-B3D7-44E2-95D8-618B05979EFE}" dt="2021-05-06T12:33:36.072" v="1511" actId="1035"/>
          <ac:picMkLst>
            <pc:docMk/>
            <pc:sldMk cId="4002595347" sldId="1859"/>
            <ac:picMk id="9" creationId="{F3C8CB2F-2FD6-48CA-83D8-B6EA3D9F3A0E}"/>
          </ac:picMkLst>
        </pc:picChg>
        <pc:picChg chg="add mod">
          <ac:chgData name="Gareth Allott" userId="d67bc1e7-5e6e-4540-bcf9-468a02f7a83e" providerId="ADAL" clId="{A6953F22-B3D7-44E2-95D8-618B05979EFE}" dt="2021-05-06T12:33:36.072" v="1511" actId="1035"/>
          <ac:picMkLst>
            <pc:docMk/>
            <pc:sldMk cId="4002595347" sldId="1859"/>
            <ac:picMk id="10" creationId="{A4617D3B-91B4-43A8-8AFA-ECAE236D2678}"/>
          </ac:picMkLst>
        </pc:picChg>
        <pc:picChg chg="add mod">
          <ac:chgData name="Gareth Allott" userId="d67bc1e7-5e6e-4540-bcf9-468a02f7a83e" providerId="ADAL" clId="{A6953F22-B3D7-44E2-95D8-618B05979EFE}" dt="2021-05-06T12:33:36.072" v="1511" actId="1035"/>
          <ac:picMkLst>
            <pc:docMk/>
            <pc:sldMk cId="4002595347" sldId="1859"/>
            <ac:picMk id="11" creationId="{A9C1E58D-9F2D-4423-8ED5-13234D912B93}"/>
          </ac:picMkLst>
        </pc:picChg>
      </pc:sldChg>
      <pc:sldChg chg="addSp delSp modSp add mod">
        <pc:chgData name="Gareth Allott" userId="d67bc1e7-5e6e-4540-bcf9-468a02f7a83e" providerId="ADAL" clId="{A6953F22-B3D7-44E2-95D8-618B05979EFE}" dt="2021-05-06T10:55:16.342" v="906" actId="108"/>
        <pc:sldMkLst>
          <pc:docMk/>
          <pc:sldMk cId="2568648196" sldId="1860"/>
        </pc:sldMkLst>
        <pc:spChg chg="add mod">
          <ac:chgData name="Gareth Allott" userId="d67bc1e7-5e6e-4540-bcf9-468a02f7a83e" providerId="ADAL" clId="{A6953F22-B3D7-44E2-95D8-618B05979EFE}" dt="2021-05-06T10:53:53.838" v="835" actId="113"/>
          <ac:spMkLst>
            <pc:docMk/>
            <pc:sldMk cId="2568648196" sldId="1860"/>
            <ac:spMk id="2" creationId="{03D8CE85-4D3F-44E7-8907-F99DDB0BE654}"/>
          </ac:spMkLst>
        </pc:spChg>
        <pc:spChg chg="add mod">
          <ac:chgData name="Gareth Allott" userId="d67bc1e7-5e6e-4540-bcf9-468a02f7a83e" providerId="ADAL" clId="{A6953F22-B3D7-44E2-95D8-618B05979EFE}" dt="2021-05-06T10:53:40.153" v="830" actId="404"/>
          <ac:spMkLst>
            <pc:docMk/>
            <pc:sldMk cId="2568648196" sldId="1860"/>
            <ac:spMk id="3" creationId="{420C9DB8-CBC7-4E31-B76C-E65DB563186C}"/>
          </ac:spMkLst>
        </pc:spChg>
        <pc:spChg chg="add mod ord">
          <ac:chgData name="Gareth Allott" userId="d67bc1e7-5e6e-4540-bcf9-468a02f7a83e" providerId="ADAL" clId="{A6953F22-B3D7-44E2-95D8-618B05979EFE}" dt="2021-05-06T10:46:14.840" v="388" actId="167"/>
          <ac:spMkLst>
            <pc:docMk/>
            <pc:sldMk cId="2568648196" sldId="1860"/>
            <ac:spMk id="4" creationId="{710CB7B0-61B4-478F-87E7-D690A24F0FC4}"/>
          </ac:spMkLst>
        </pc:spChg>
        <pc:spChg chg="mod">
          <ac:chgData name="Gareth Allott" userId="d67bc1e7-5e6e-4540-bcf9-468a02f7a83e" providerId="ADAL" clId="{A6953F22-B3D7-44E2-95D8-618B05979EFE}" dt="2021-05-06T10:44:53.069" v="144" actId="20577"/>
          <ac:spMkLst>
            <pc:docMk/>
            <pc:sldMk cId="2568648196" sldId="1860"/>
            <ac:spMk id="5" creationId="{F2C6102A-B52C-4A5B-91B0-2129372A97CE}"/>
          </ac:spMkLst>
        </pc:spChg>
        <pc:spChg chg="mod">
          <ac:chgData name="Gareth Allott" userId="d67bc1e7-5e6e-4540-bcf9-468a02f7a83e" providerId="ADAL" clId="{A6953F22-B3D7-44E2-95D8-618B05979EFE}" dt="2021-05-06T10:51:07.382" v="665"/>
          <ac:spMkLst>
            <pc:docMk/>
            <pc:sldMk cId="2568648196" sldId="1860"/>
            <ac:spMk id="6" creationId="{E4111649-A0A5-4F46-B9AF-1FECD1374140}"/>
          </ac:spMkLst>
        </pc:spChg>
        <pc:spChg chg="add del mod">
          <ac:chgData name="Gareth Allott" userId="d67bc1e7-5e6e-4540-bcf9-468a02f7a83e" providerId="ADAL" clId="{A6953F22-B3D7-44E2-95D8-618B05979EFE}" dt="2021-05-06T10:49:06.983" v="503" actId="478"/>
          <ac:spMkLst>
            <pc:docMk/>
            <pc:sldMk cId="2568648196" sldId="1860"/>
            <ac:spMk id="7" creationId="{26FD48A1-8B74-4D91-95BC-139B93A35AE7}"/>
          </ac:spMkLst>
        </pc:spChg>
        <pc:spChg chg="add del mod">
          <ac:chgData name="Gareth Allott" userId="d67bc1e7-5e6e-4540-bcf9-468a02f7a83e" providerId="ADAL" clId="{A6953F22-B3D7-44E2-95D8-618B05979EFE}" dt="2021-05-06T10:49:06.983" v="503" actId="478"/>
          <ac:spMkLst>
            <pc:docMk/>
            <pc:sldMk cId="2568648196" sldId="1860"/>
            <ac:spMk id="8" creationId="{E1F3818B-AED8-44D5-8E05-78365674A28D}"/>
          </ac:spMkLst>
        </pc:spChg>
        <pc:spChg chg="add del mod">
          <ac:chgData name="Gareth Allott" userId="d67bc1e7-5e6e-4540-bcf9-468a02f7a83e" providerId="ADAL" clId="{A6953F22-B3D7-44E2-95D8-618B05979EFE}" dt="2021-05-06T10:49:06.983" v="503" actId="478"/>
          <ac:spMkLst>
            <pc:docMk/>
            <pc:sldMk cId="2568648196" sldId="1860"/>
            <ac:spMk id="9" creationId="{844C90D5-5956-466A-8DF0-F3D1021DBED4}"/>
          </ac:spMkLst>
        </pc:spChg>
        <pc:spChg chg="add del mod">
          <ac:chgData name="Gareth Allott" userId="d67bc1e7-5e6e-4540-bcf9-468a02f7a83e" providerId="ADAL" clId="{A6953F22-B3D7-44E2-95D8-618B05979EFE}" dt="2021-05-06T10:49:06.983" v="503" actId="478"/>
          <ac:spMkLst>
            <pc:docMk/>
            <pc:sldMk cId="2568648196" sldId="1860"/>
            <ac:spMk id="10" creationId="{6D06419B-6DC9-446E-B216-734D91A9CB6D}"/>
          </ac:spMkLst>
        </pc:spChg>
        <pc:spChg chg="add del mod">
          <ac:chgData name="Gareth Allott" userId="d67bc1e7-5e6e-4540-bcf9-468a02f7a83e" providerId="ADAL" clId="{A6953F22-B3D7-44E2-95D8-618B05979EFE}" dt="2021-05-06T10:49:06.983" v="503" actId="478"/>
          <ac:spMkLst>
            <pc:docMk/>
            <pc:sldMk cId="2568648196" sldId="1860"/>
            <ac:spMk id="11" creationId="{E53A5B9A-EB41-4D0A-95FD-14D891C3BA15}"/>
          </ac:spMkLst>
        </pc:spChg>
        <pc:spChg chg="add del mod">
          <ac:chgData name="Gareth Allott" userId="d67bc1e7-5e6e-4540-bcf9-468a02f7a83e" providerId="ADAL" clId="{A6953F22-B3D7-44E2-95D8-618B05979EFE}" dt="2021-05-06T10:49:06.983" v="503" actId="478"/>
          <ac:spMkLst>
            <pc:docMk/>
            <pc:sldMk cId="2568648196" sldId="1860"/>
            <ac:spMk id="12" creationId="{8C188DA5-6D02-4A0C-850A-858E60FF86E8}"/>
          </ac:spMkLst>
        </pc:spChg>
        <pc:spChg chg="add mod ord">
          <ac:chgData name="Gareth Allott" userId="d67bc1e7-5e6e-4540-bcf9-468a02f7a83e" providerId="ADAL" clId="{A6953F22-B3D7-44E2-95D8-618B05979EFE}" dt="2021-05-06T10:52:57.210" v="772" actId="1076"/>
          <ac:spMkLst>
            <pc:docMk/>
            <pc:sldMk cId="2568648196" sldId="1860"/>
            <ac:spMk id="13" creationId="{5F90A750-C7AA-4A41-AA2E-FB58AF5EF791}"/>
          </ac:spMkLst>
        </pc:spChg>
        <pc:spChg chg="add mod">
          <ac:chgData name="Gareth Allott" userId="d67bc1e7-5e6e-4540-bcf9-468a02f7a83e" providerId="ADAL" clId="{A6953F22-B3D7-44E2-95D8-618B05979EFE}" dt="2021-05-06T10:52:59.381" v="779" actId="1038"/>
          <ac:spMkLst>
            <pc:docMk/>
            <pc:sldMk cId="2568648196" sldId="1860"/>
            <ac:spMk id="14" creationId="{2BB7048B-1A8B-48A9-917B-111F79F57E4C}"/>
          </ac:spMkLst>
        </pc:spChg>
        <pc:spChg chg="add mod">
          <ac:chgData name="Gareth Allott" userId="d67bc1e7-5e6e-4540-bcf9-468a02f7a83e" providerId="ADAL" clId="{A6953F22-B3D7-44E2-95D8-618B05979EFE}" dt="2021-05-06T10:53:50.071" v="832" actId="113"/>
          <ac:spMkLst>
            <pc:docMk/>
            <pc:sldMk cId="2568648196" sldId="1860"/>
            <ac:spMk id="15" creationId="{E2FBB0C6-BAC0-4D59-81ED-D9FD7BBAA8C7}"/>
          </ac:spMkLst>
        </pc:spChg>
        <pc:spChg chg="add mod">
          <ac:chgData name="Gareth Allott" userId="d67bc1e7-5e6e-4540-bcf9-468a02f7a83e" providerId="ADAL" clId="{A6953F22-B3D7-44E2-95D8-618B05979EFE}" dt="2021-05-06T10:54:50.709" v="874" actId="20577"/>
          <ac:spMkLst>
            <pc:docMk/>
            <pc:sldMk cId="2568648196" sldId="1860"/>
            <ac:spMk id="16" creationId="{10B6B7FB-8F50-4DA3-B1F1-963B1B2668E7}"/>
          </ac:spMkLst>
        </pc:spChg>
        <pc:spChg chg="add mod">
          <ac:chgData name="Gareth Allott" userId="d67bc1e7-5e6e-4540-bcf9-468a02f7a83e" providerId="ADAL" clId="{A6953F22-B3D7-44E2-95D8-618B05979EFE}" dt="2021-05-06T10:52:57.210" v="772" actId="1076"/>
          <ac:spMkLst>
            <pc:docMk/>
            <pc:sldMk cId="2568648196" sldId="1860"/>
            <ac:spMk id="17" creationId="{715F7A90-FE63-4054-AD99-7FCEE2B93FA9}"/>
          </ac:spMkLst>
        </pc:spChg>
        <pc:spChg chg="add mod">
          <ac:chgData name="Gareth Allott" userId="d67bc1e7-5e6e-4540-bcf9-468a02f7a83e" providerId="ADAL" clId="{A6953F22-B3D7-44E2-95D8-618B05979EFE}" dt="2021-05-06T10:53:55.670" v="836" actId="113"/>
          <ac:spMkLst>
            <pc:docMk/>
            <pc:sldMk cId="2568648196" sldId="1860"/>
            <ac:spMk id="18" creationId="{9C643A41-A75B-44E7-AA86-B30837A7876C}"/>
          </ac:spMkLst>
        </pc:spChg>
        <pc:spChg chg="add mod">
          <ac:chgData name="Gareth Allott" userId="d67bc1e7-5e6e-4540-bcf9-468a02f7a83e" providerId="ADAL" clId="{A6953F22-B3D7-44E2-95D8-618B05979EFE}" dt="2021-05-06T10:53:40.153" v="830" actId="404"/>
          <ac:spMkLst>
            <pc:docMk/>
            <pc:sldMk cId="2568648196" sldId="1860"/>
            <ac:spMk id="19" creationId="{FE276FE5-D7AC-4041-9058-C09555DF9500}"/>
          </ac:spMkLst>
        </pc:spChg>
        <pc:picChg chg="add mod">
          <ac:chgData name="Gareth Allott" userId="d67bc1e7-5e6e-4540-bcf9-468a02f7a83e" providerId="ADAL" clId="{A6953F22-B3D7-44E2-95D8-618B05979EFE}" dt="2021-05-06T10:54:27.878" v="852" actId="1036"/>
          <ac:picMkLst>
            <pc:docMk/>
            <pc:sldMk cId="2568648196" sldId="1860"/>
            <ac:picMk id="21" creationId="{6F8AF43C-08B4-4F30-AD2E-6F26C32C519E}"/>
          </ac:picMkLst>
        </pc:picChg>
        <pc:picChg chg="add mod">
          <ac:chgData name="Gareth Allott" userId="d67bc1e7-5e6e-4540-bcf9-468a02f7a83e" providerId="ADAL" clId="{A6953F22-B3D7-44E2-95D8-618B05979EFE}" dt="2021-05-06T10:55:14.102" v="905" actId="1035"/>
          <ac:picMkLst>
            <pc:docMk/>
            <pc:sldMk cId="2568648196" sldId="1860"/>
            <ac:picMk id="23" creationId="{0C9D2AA9-E7A1-4017-9A03-80A827617412}"/>
          </ac:picMkLst>
        </pc:picChg>
        <pc:picChg chg="add mod">
          <ac:chgData name="Gareth Allott" userId="d67bc1e7-5e6e-4540-bcf9-468a02f7a83e" providerId="ADAL" clId="{A6953F22-B3D7-44E2-95D8-618B05979EFE}" dt="2021-05-06T10:55:16.342" v="906" actId="108"/>
          <ac:picMkLst>
            <pc:docMk/>
            <pc:sldMk cId="2568648196" sldId="1860"/>
            <ac:picMk id="25" creationId="{C8C794AF-91C4-4FD2-9ED4-FCD76517EC21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6.256283993913178E-3"/>
          <c:w val="0.86915949802924874"/>
          <c:h val="0.97810300602130384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hannels</c:v>
                </c:pt>
              </c:strCache>
            </c:strRef>
          </c:tx>
          <c:spPr>
            <a:ln w="25400" cap="rnd">
              <a:solidFill>
                <a:srgbClr val="001F5F"/>
              </a:solidFill>
              <a:round/>
            </a:ln>
            <a:effectLst/>
          </c:spPr>
          <c:marker>
            <c:symbol val="circle"/>
            <c:size val="12"/>
            <c:spPr>
              <a:solidFill>
                <a:srgbClr val="001F5F"/>
              </a:solidFill>
              <a:ln w="9525">
                <a:solidFill>
                  <a:srgbClr val="001F5F"/>
                </a:solidFill>
              </a:ln>
              <a:effectLst/>
            </c:spPr>
          </c:marker>
          <c:xVal>
            <c:numRef>
              <c:f>Sheet1!$A$2:$A$16</c:f>
              <c:numCache>
                <c:formatCode>0.00</c:formatCode>
                <c:ptCount val="15"/>
                <c:pt idx="0">
                  <c:v>0.72599999999999998</c:v>
                </c:pt>
                <c:pt idx="1">
                  <c:v>0.7</c:v>
                </c:pt>
                <c:pt idx="2">
                  <c:v>0.66200000000000003</c:v>
                </c:pt>
                <c:pt idx="3">
                  <c:v>0.54300000000000004</c:v>
                </c:pt>
                <c:pt idx="4">
                  <c:v>0.53400000000000003</c:v>
                </c:pt>
                <c:pt idx="5">
                  <c:v>0.50700000000000001</c:v>
                </c:pt>
                <c:pt idx="6">
                  <c:v>0.48899999999999999</c:v>
                </c:pt>
                <c:pt idx="7">
                  <c:v>0.42699999999999999</c:v>
                </c:pt>
                <c:pt idx="8">
                  <c:v>0.42199999999999999</c:v>
                </c:pt>
                <c:pt idx="9">
                  <c:v>0.41</c:v>
                </c:pt>
                <c:pt idx="10">
                  <c:v>0.33400000000000002</c:v>
                </c:pt>
                <c:pt idx="11">
                  <c:v>0.31900000000000001</c:v>
                </c:pt>
                <c:pt idx="12">
                  <c:v>0.19500000000000001</c:v>
                </c:pt>
                <c:pt idx="13">
                  <c:v>0.157</c:v>
                </c:pt>
                <c:pt idx="14">
                  <c:v>-9.0999999999999998E-2</c:v>
                </c:pt>
              </c:numCache>
            </c:numRef>
          </c:xVal>
          <c:yVal>
            <c:numRef>
              <c:f>Sheet1!$B$2:$B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0D0-4C9F-836D-F400A1D81F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6683904"/>
        <c:axId val="96694272"/>
      </c:scatterChart>
      <c:valAx>
        <c:axId val="96683904"/>
        <c:scaling>
          <c:orientation val="minMax"/>
          <c:min val="-0.1"/>
        </c:scaling>
        <c:delete val="1"/>
        <c:axPos val="t"/>
        <c:numFmt formatCode="0.00" sourceLinked="1"/>
        <c:majorTickMark val="out"/>
        <c:minorTickMark val="none"/>
        <c:tickLblPos val="nextTo"/>
        <c:crossAx val="96694272"/>
        <c:crosses val="autoZero"/>
        <c:crossBetween val="midCat"/>
      </c:valAx>
      <c:valAx>
        <c:axId val="9669427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66839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 marL="0" algn="r" defTabSz="457200" rtl="0" eaLnBrk="1" fontAlgn="ctr" latinLnBrk="0" hangingPunct="1">
        <a:lnSpc>
          <a:spcPct val="115000"/>
        </a:lnSpc>
        <a:spcAft>
          <a:spcPts val="0"/>
        </a:spcAft>
        <a:defRPr lang="en-GB" sz="1000" b="0" i="0" kern="1200">
          <a:solidFill>
            <a:schemeClr val="tx1"/>
          </a:solidFill>
          <a:effectLst/>
          <a:latin typeface="+mn-lt"/>
          <a:ea typeface="+mn-ea"/>
          <a:cs typeface="Times New Roman" panose="02020603050405020304" pitchFamily="18" charset="0"/>
        </a:defRPr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4C3C8E-CAD3-4C9D-AC56-54F16D5D3D7D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EC90FE-6140-4C15-9165-9598E7184E0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46194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which of the following ways have you interacted with the manufacturers of each of the following products in relation to </a:t>
            </a:r>
            <a:r>
              <a:rPr lang="en-GB" sz="1200" b="1" u="sng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nus Kinase (JAK) inhibitors</a:t>
            </a:r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or the treatment of Rheumatoid Arthritis in the last 3 months.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FF5BEC-13C4-7F45-A7C4-A11CD854F58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9114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EC90FE-6140-4C15-9165-9598E7184E0C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1468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C799DA-BA7E-4650-9D03-B78CE6A6BB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B06C9D-9B59-4B54-9CBC-8DFF53ED6A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401A64-4635-48D6-AA71-DEEB513294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FE402-65DA-40F4-9B7D-05EA261513D0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82095E-7D91-4FC9-AF94-E8621085B4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3AA93-4C41-4A16-87ED-9D131DF7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6725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3BCCC0-771C-45CA-A8D4-D1073E178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1D3590-2C09-4CBA-8EDA-F4D8B8CA06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B1D320-7440-42DB-B507-75023F3A50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FE402-65DA-40F4-9B7D-05EA261513D0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A38A1F-2BA9-4EAC-9B2B-A513F4F0A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830A60-96B7-4244-8B3C-BFD2CF775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692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907525D-72FD-406B-AE2E-BB0113B668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14233D2-3EC4-4740-BF9A-70C5D23652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F2172E-D72E-4CD6-B85F-1FB54CFA34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FE402-65DA-40F4-9B7D-05EA261513D0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91DCC1-BAD4-4E02-83D8-EA6DEB95E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CC6D0B-CE9F-4399-8B07-D327EBB9CC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40569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6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49311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551056"/>
      </p:ext>
    </p:extLst>
  </p:cSld>
  <p:clrMapOvr>
    <a:masterClrMapping/>
  </p:clrMapOvr>
  <p:transition>
    <p:wipe dir="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9030" y="365125"/>
            <a:ext cx="10344015" cy="132556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7AB26F-8304-294B-B078-7857C770177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88964" y="1820865"/>
            <a:ext cx="10344080" cy="4238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05977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75168"/>
      </p:ext>
    </p:extLst>
  </p:cSld>
  <p:clrMapOvr>
    <a:masterClrMapping/>
  </p:clrMapOvr>
  <p:transition>
    <p:wipe dir="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9425093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09024096"/>
      </p:ext>
    </p:extLst>
  </p:cSld>
  <p:clrMapOvr>
    <a:masterClrMapping/>
  </p:clrMapOvr>
  <p:transition>
    <p:wipe dir="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6461640"/>
      </p:ext>
    </p:extLst>
  </p:cSld>
  <p:clrMapOvr>
    <a:masterClrMapping/>
  </p:clrMapOvr>
  <p:transition>
    <p:wipe dir="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38381585"/>
      </p:ext>
    </p:extLst>
  </p:cSld>
  <p:clrMapOvr>
    <a:masterClrMapping/>
  </p:clrMapOvr>
  <p:transition>
    <p:wipe dir="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441086"/>
      </p:ext>
    </p:extLst>
  </p:cSld>
  <p:clrMapOvr>
    <a:masterClrMapping/>
  </p:clrMapOvr>
  <p:transition>
    <p:wipe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076CE-4997-4388-98CC-76C31CDB8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D5A07E-73E7-48C3-8F3E-5C881E4F2A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26437B-1180-42FB-88F6-5B92C1CD00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FE402-65DA-40F4-9B7D-05EA261513D0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E26464-82E3-4EBD-A33B-C3D35D8199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90A36C-B07D-4F24-B78A-82FEC6C8E3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65479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198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759441"/>
      </p:ext>
    </p:extLst>
  </p:cSld>
  <p:clrMapOvr>
    <a:masterClrMapping/>
  </p:clrMapOvr>
  <p:transition>
    <p:wipe dir="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9757182"/>
      </p:ext>
    </p:extLst>
  </p:cSld>
  <p:clrMapOvr>
    <a:masterClrMapping/>
  </p:clrMapOvr>
  <p:transition>
    <p:wipe dir="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796198"/>
      </p:ext>
    </p:extLst>
  </p:cSld>
  <p:clrMapOvr>
    <a:masterClrMapping/>
  </p:clrMapOvr>
  <p:transition>
    <p:wipe dir="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808620"/>
      </p:ext>
    </p:extLst>
  </p:cSld>
  <p:clrMapOvr>
    <a:masterClrMapping/>
  </p:clrMapOvr>
  <p:transition>
    <p:wipe dir="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53213114"/>
      </p:ext>
    </p:extLst>
  </p:cSld>
  <p:clrMapOvr>
    <a:masterClrMapping/>
  </p:clrMapOvr>
  <p:transition>
    <p:wipe dir="d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85044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895271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166689659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6"/>
            <a:ext cx="11639394" cy="97052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2AC331BD-B2D2-49AA-B79F-08337B3E34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5969" y="907082"/>
            <a:ext cx="10660063" cy="579664"/>
          </a:xfrm>
        </p:spPr>
        <p:txBody>
          <a:bodyPr>
            <a:noAutofit/>
          </a:bodyPr>
          <a:lstStyle>
            <a:lvl1pPr marL="0" indent="0" algn="ctr">
              <a:buNone/>
              <a:defRPr sz="2600">
                <a:solidFill>
                  <a:srgbClr val="87888D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427624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CBB2EB-23A8-48DC-AC25-308405A150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25B164-7B60-471B-B2F9-C6D0D6B670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61CE7D-FC80-4AAF-8E04-DD5FEDF647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FE402-65DA-40F4-9B7D-05EA261513D0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A75193-BFCC-4446-9EEB-AE1AF44D7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4606A5-E2CE-436E-B1A0-4987DB7CB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92357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4C6B43-F285-4B12-B007-12A7D155E0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4D6BC4-339E-4954-990E-E199442BA2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8546FD-F9BA-416E-8ABB-095974A50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A2B54-6EA1-4354-BA38-3E07098A87BA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E2BF4A-C52D-45BA-861B-7389B3BC2B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521AE-45E3-4A59-B568-CA92D1CF4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B32313-69E1-4AF6-BEE8-90517394AA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1920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F398C-9663-4828-B1E0-381A5A12B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B1245E-D326-424C-837F-771C657BEC5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3CA7E9-7351-49AF-9F73-DDE17E890B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A3DA8-69FC-42B9-A3AA-0A4A9CA81D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FE402-65DA-40F4-9B7D-05EA261513D0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4A2021-6B58-48CC-A8FC-D959713E9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6041E5-D7B0-4172-A962-B2808A11F1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5449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FAF402-346B-43E9-A2A4-BBB09E7D0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63704D-1067-474A-AD27-E06EB3F5C3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3F3E7E-9D08-4F4E-AD96-D5AB797589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5BF82-D7BF-4E01-A29E-E1135DDDD5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57AADD-51AD-4C7A-BB44-7EB0A9516E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24007F8-DCDB-4535-9D66-0974C5F116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FE402-65DA-40F4-9B7D-05EA261513D0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A37A2D-B8BF-48B3-97EB-4C4F83DB8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BBDB16-C02B-448E-B2E3-B640AC34FE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87051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2C0EF5-6646-46EB-995C-C69837059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5A3958-A4E8-44E0-8C57-5306DB611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FE402-65DA-40F4-9B7D-05EA261513D0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291097-F090-4751-9261-6C9EF5509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74E597-D2AB-409A-92B1-4B4AD55EB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5049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3F7E2A-8E32-4929-91A8-E7D57A8E1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FE402-65DA-40F4-9B7D-05EA261513D0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14ECFB-3967-4BFD-9003-1F5464320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2DA591-6E17-4F93-BFE9-A714E174E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2372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51D94-BB1F-4CFA-A0AF-3773BD3D2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84502D-47D0-4C15-BCF2-B8902192E0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787FD1-ECD8-4981-B373-51839DD7F2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C2B97C-0C21-4200-9D79-FDC7201DF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FE402-65DA-40F4-9B7D-05EA261513D0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8C739F-F5C1-4076-BB34-DE553A5009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2D97DD-227B-4F51-ADAF-854384336E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00195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F44D3-6E56-4BCD-94FC-F605348939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118C93-5DA7-49BE-B14F-87AE3756B03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A0D257-733A-4F5D-8328-BDBA39FC37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4741B2-8162-432B-B860-3475221FA1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FE402-65DA-40F4-9B7D-05EA261513D0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269A9A-4D5E-4030-B07E-4FBAA56B2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1AC63-86E3-40D3-91A3-20ACDC323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7773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85575AD-3279-404E-ACCD-411A46F0F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11111E-23D1-4457-B942-3CD1C87ACC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6EF274-002C-4BC3-8A51-D6E6A719B5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6FE402-65DA-40F4-9B7D-05EA261513D0}" type="datetimeFigureOut">
              <a:rPr lang="en-GB" smtClean="0"/>
              <a:t>06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7522ED-F50E-4735-B0B6-D37E7844BA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1A01A0-A600-4832-B7F3-5CEEC64E9D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8201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7" r:id="rId12"/>
    <p:sldLayoutId id="2147483678" r:id="rId13"/>
    <p:sldLayoutId id="214748367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671591555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855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Italian_Social_Republic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Italian_Social_Republic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Spaniards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Spaniards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id.wikipedia.org/wiki/berkas:flag_of_the_netherlands.svg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id.wikipedia.org/wiki/berkas:flag_of_the_netherlands.svg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French_nationalism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1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1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1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emf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7" Type="http://schemas.openxmlformats.org/officeDocument/2006/relationships/image" Target="../media/image43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hitchwiki.org/de/Datei:Flag_of_Belgium_(civil).svg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hitchwiki.org/de/Datei:Flag_of_Belgium_(civil).svg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55EB5-E0A3-44DF-BA55-D93C30002DD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HCP Channel Preferenc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F434BD-C9F5-4F16-AFA5-410B61A270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Summary of Pulse, ATU, &amp; Navigator Findings</a:t>
            </a:r>
          </a:p>
        </p:txBody>
      </p:sp>
    </p:spTree>
    <p:extLst>
      <p:ext uri="{BB962C8B-B14F-4D97-AF65-F5344CB8AC3E}">
        <p14:creationId xmlns:p14="http://schemas.microsoft.com/office/powerpoint/2010/main" val="116515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16C96-C691-4B78-9E0B-E294169B7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2051"/>
            <a:ext cx="10515600" cy="650875"/>
          </a:xfrm>
        </p:spPr>
        <p:txBody>
          <a:bodyPr>
            <a:normAutofit fontScale="90000"/>
          </a:bodyPr>
          <a:lstStyle/>
          <a:p>
            <a:r>
              <a:rPr lang="en-GB"/>
              <a:t>Summary of Navigator Findings - Italy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B5453446-2890-45F6-B15B-23FBA193AEF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39086863"/>
              </p:ext>
            </p:extLst>
          </p:nvPr>
        </p:nvGraphicFramePr>
        <p:xfrm>
          <a:off x="838200" y="3013075"/>
          <a:ext cx="10515600" cy="34798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3140895277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095932491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17124052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237539243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4780150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Owned - Commercial</a:t>
                      </a:r>
                    </a:p>
                  </a:txBody>
                  <a:tcPr>
                    <a:solidFill>
                      <a:srgbClr val="00924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Owned – Medical</a:t>
                      </a:r>
                    </a:p>
                  </a:txBody>
                  <a:tcPr>
                    <a:solidFill>
                      <a:srgbClr val="00924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Paid</a:t>
                      </a:r>
                    </a:p>
                  </a:txBody>
                  <a:tcPr>
                    <a:solidFill>
                      <a:srgbClr val="00924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Earned</a:t>
                      </a:r>
                    </a:p>
                  </a:txBody>
                  <a:tcPr>
                    <a:solidFill>
                      <a:srgbClr val="0092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0251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Top Performing Channel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 dirty="0"/>
                        <a:t>F2F Rep &amp; Rep email</a:t>
                      </a:r>
                      <a:r>
                        <a:rPr lang="en-US" sz="1200" i="0" dirty="0"/>
                        <a:t>: high reach, mid impact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 dirty="0" err="1"/>
                        <a:t>eDetailing</a:t>
                      </a:r>
                      <a:r>
                        <a:rPr lang="en-US" sz="1200" b="1" i="0" dirty="0"/>
                        <a:t>, remote rep, and pharma website:</a:t>
                      </a:r>
                      <a:r>
                        <a:rPr lang="en-US" sz="1200" i="0" dirty="0"/>
                        <a:t> mid-impact, mid reach </a:t>
                      </a:r>
                      <a:endParaRPr lang="en-GB" sz="1200" i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/>
                        <a:t>Pharma Webcast: </a:t>
                      </a:r>
                      <a:r>
                        <a:rPr lang="en-US" sz="1200" b="0" i="0"/>
                        <a:t>High Reach, mid impact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/>
                        <a:t>MSL &amp; Phase IV</a:t>
                      </a:r>
                      <a:r>
                        <a:rPr lang="en-US" sz="1200" b="0" i="0"/>
                        <a:t>: high impact, mid to low reach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 err="1"/>
                        <a:t>eMedical</a:t>
                      </a:r>
                      <a:r>
                        <a:rPr lang="en-US" sz="1200" b="1" i="0"/>
                        <a:t> Education, MSL email:</a:t>
                      </a:r>
                      <a:r>
                        <a:rPr lang="en-US" sz="1200" b="0" i="0"/>
                        <a:t> high reach, mid-impact</a:t>
                      </a:r>
                      <a:endParaRPr lang="en-GB" sz="1200" b="1" i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1"/>
                        <a:t>eCME:</a:t>
                      </a:r>
                      <a:r>
                        <a:rPr lang="en-US" sz="1200" b="0"/>
                        <a:t> highest reach of group, high impact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GB" sz="1200" b="1"/>
                        <a:t>Scientific Website, </a:t>
                      </a:r>
                      <a:r>
                        <a:rPr lang="en-GB" sz="1200" b="1" err="1"/>
                        <a:t>eprescribing</a:t>
                      </a:r>
                      <a:r>
                        <a:rPr lang="en-GB" sz="1200" b="1"/>
                        <a:t>, &amp; CME:</a:t>
                      </a:r>
                      <a:r>
                        <a:rPr lang="en-GB" sz="1200"/>
                        <a:t> high impact, mid reach</a:t>
                      </a:r>
                      <a:endParaRPr lang="en-US" sz="1200" b="0"/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1"/>
                        <a:t>Search engine</a:t>
                      </a:r>
                      <a:r>
                        <a:rPr lang="en-US" sz="1200" b="0"/>
                        <a:t>: High Reach, mid impact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n-GB" sz="1200" b="1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/>
                        <a:t>Treatment Guidelines</a:t>
                      </a:r>
                      <a:r>
                        <a:rPr lang="en-US" sz="1200" b="0"/>
                        <a:t> – Very High reach &amp; Impact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GB" sz="1200" b="1"/>
                        <a:t>Medical Journals </a:t>
                      </a:r>
                      <a:r>
                        <a:rPr lang="en-GB" sz="1200" b="0"/>
                        <a:t>(online &amp; print) – high impact &amp; reach</a:t>
                      </a:r>
                      <a:endParaRPr lang="en-GB" sz="1200" b="1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4001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Key Finding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F2F Rep channel is not as significant to reach as for other marke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harma call/pharma newsletter very low impac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Sample is low impact and reach </a:t>
                      </a:r>
                      <a:endParaRPr lang="en-GB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Nondigital medical education is viewed as very highly impactful, but to have very low reach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Medical owned channels are more varied by score than other groups.</a:t>
                      </a:r>
                      <a:endParaRPr lang="en-GB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Various paid channels are clustered as similar impact/reach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Banners &amp; TV ads ranked very low on both fields</a:t>
                      </a:r>
                      <a:endParaRPr lang="en-GB" sz="120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dirty="0"/>
                        <a:t>Various channels of this group (congresses, colleagues, meetings)  are clustered as high impact, mid reach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dirty="0"/>
                        <a:t>KOL viewed as high impact, low reach </a:t>
                      </a:r>
                      <a:endParaRPr lang="en-GB" sz="1200" i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018501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0CF5A8A-5B98-45EE-9689-20F91AA712C3}"/>
              </a:ext>
            </a:extLst>
          </p:cNvPr>
          <p:cNvSpPr txBox="1"/>
          <p:nvPr/>
        </p:nvSpPr>
        <p:spPr>
          <a:xfrm>
            <a:off x="838200" y="3013075"/>
            <a:ext cx="4104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Detailed Summary</a:t>
            </a:r>
            <a:endParaRPr lang="en-GB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A032FA-F5B2-460C-96EB-DB7F5498EF2E}"/>
              </a:ext>
            </a:extLst>
          </p:cNvPr>
          <p:cNvSpPr txBox="1"/>
          <p:nvPr/>
        </p:nvSpPr>
        <p:spPr>
          <a:xfrm>
            <a:off x="838200" y="1118671"/>
            <a:ext cx="10515600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verall Finding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In Italy, Earned Channels are the most successful for both impact &amp; re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Treatment Guidelines are perceived as the most effective channel for both reach &amp; imp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The scoring is more clustered in Italy compared to other markets, meaning that Italian survey respondents considered different channels to achieve more similar results than for other mark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/>
          </a:p>
        </p:txBody>
      </p:sp>
      <p:pic>
        <p:nvPicPr>
          <p:cNvPr id="9" name="Picture 8" descr="Shape&#10;&#10;Description automatically generated">
            <a:extLst>
              <a:ext uri="{FF2B5EF4-FFF2-40B4-BE49-F238E27FC236}">
                <a16:creationId xmlns:a16="http://schemas.microsoft.com/office/drawing/2014/main" id="{87830215-3FE2-4061-97A9-74DA1E03A1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1353799" y="142051"/>
            <a:ext cx="652530" cy="435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4179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CA7579E-B94B-4B14-B132-CBA427929E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28117"/>
              </p:ext>
            </p:extLst>
          </p:nvPr>
        </p:nvGraphicFramePr>
        <p:xfrm>
          <a:off x="3858418" y="142051"/>
          <a:ext cx="3662363" cy="65116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42396">
                  <a:extLst>
                    <a:ext uri="{9D8B030D-6E8A-4147-A177-3AD203B41FA5}">
                      <a16:colId xmlns:a16="http://schemas.microsoft.com/office/drawing/2014/main" val="3850575509"/>
                    </a:ext>
                  </a:extLst>
                </a:gridCol>
                <a:gridCol w="854551">
                  <a:extLst>
                    <a:ext uri="{9D8B030D-6E8A-4147-A177-3AD203B41FA5}">
                      <a16:colId xmlns:a16="http://schemas.microsoft.com/office/drawing/2014/main" val="245228323"/>
                    </a:ext>
                  </a:extLst>
                </a:gridCol>
                <a:gridCol w="532708">
                  <a:extLst>
                    <a:ext uri="{9D8B030D-6E8A-4147-A177-3AD203B41FA5}">
                      <a16:colId xmlns:a16="http://schemas.microsoft.com/office/drawing/2014/main" val="2128763068"/>
                    </a:ext>
                  </a:extLst>
                </a:gridCol>
                <a:gridCol w="532708">
                  <a:extLst>
                    <a:ext uri="{9D8B030D-6E8A-4147-A177-3AD203B41FA5}">
                      <a16:colId xmlns:a16="http://schemas.microsoft.com/office/drawing/2014/main" val="1074131731"/>
                    </a:ext>
                  </a:extLst>
                </a:gridCol>
              </a:tblGrid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hannel</a:t>
                      </a:r>
                      <a:endParaRPr lang="en-GB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rgbClr val="00924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ype</a:t>
                      </a:r>
                      <a:endParaRPr lang="en-GB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rgbClr val="0092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ach</a:t>
                      </a:r>
                      <a:endParaRPr lang="en-GB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rgbClr val="0092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mpact</a:t>
                      </a:r>
                      <a:endParaRPr lang="en-GB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rgbClr val="0092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7172926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Treatment Guideline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9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5987470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Medical Education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wned - M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2924475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twitter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7213137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nline Medical Journa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743944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Colleagu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9772478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cist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4612036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nline Congres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3120871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Wikipedia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7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902771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Int'l Scientific Meeting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396990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government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2910347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Int'l Congres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5645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Medical journa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9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2883083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National Congres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37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7612398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KO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12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4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7961602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Health Authority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37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4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2347702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tient Support Program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4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657790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se IV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4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503066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MS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6152501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eCM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1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685855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scientific </a:t>
                      </a:r>
                      <a:r>
                        <a:rPr lang="en-GB" sz="750" u="none" strike="noStrike" dirty="0" err="1">
                          <a:effectLst/>
                        </a:rPr>
                        <a:t>eNewsletter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0893247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scientific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4534330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Nurs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1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2837577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Health Insuranc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811084"/>
                  </a:ext>
                </a:extLst>
              </a:tr>
              <a:tr h="169319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rofessional Association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659219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336217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CM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9940860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tient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9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1621077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app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894813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webcast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894102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Linkedin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7535045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search engin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i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1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3548189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Hospita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856458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tient Association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5738178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eDetai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7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474959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remote rep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2598173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ePrescribing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163207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nline Physician Network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5459931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Local Scientific Meeting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7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2809552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mail MS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304132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b="1" u="none" strike="noStrike" dirty="0">
                          <a:effectLst/>
                        </a:rPr>
                        <a:t>rep/AM</a:t>
                      </a:r>
                      <a:endParaRPr lang="en-GB" sz="7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b="1" u="none" strike="noStrike">
                          <a:effectLst/>
                        </a:rPr>
                        <a:t>Owned - Comm</a:t>
                      </a:r>
                      <a:endParaRPr lang="en-GB" sz="7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b="1" u="none" strike="noStrike">
                          <a:effectLst/>
                        </a:rPr>
                        <a:t>41%</a:t>
                      </a:r>
                      <a:endParaRPr lang="en-GB" sz="7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b="1" u="none" strike="noStrike" dirty="0">
                          <a:effectLst/>
                        </a:rPr>
                        <a:t>6.6</a:t>
                      </a:r>
                      <a:endParaRPr lang="en-GB" sz="7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1547339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rof Association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10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8732929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Service </a:t>
                      </a:r>
                      <a:r>
                        <a:rPr lang="en-GB" sz="750" u="none" strike="noStrike" dirty="0" err="1">
                          <a:effectLst/>
                        </a:rPr>
                        <a:t>Center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7814271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sampl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629318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mail rep/AM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4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6663441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eMedical</a:t>
                      </a:r>
                      <a:r>
                        <a:rPr lang="en-GB" sz="750" u="none" strike="noStrike" dirty="0">
                          <a:effectLst/>
                        </a:rPr>
                        <a:t> education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3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173163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</a:t>
                      </a:r>
                      <a:r>
                        <a:rPr lang="en-GB" sz="750" u="none" strike="noStrike" dirty="0" err="1">
                          <a:effectLst/>
                        </a:rPr>
                        <a:t>eNewsletter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333349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conference booth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2690088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Remote MS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1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3492063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TV a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969701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tient Association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0708438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journal a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585950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Cal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3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004984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DM/newsletter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5938335"/>
                  </a:ext>
                </a:extLst>
              </a:tr>
              <a:tr h="11702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banner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i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10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483770"/>
                  </a:ext>
                </a:extLst>
              </a:tr>
            </a:tbl>
          </a:graphicData>
        </a:graphic>
      </p:graphicFrame>
      <p:pic>
        <p:nvPicPr>
          <p:cNvPr id="5" name="Picture 4" descr="Shape&#10;&#10;Description automatically generated">
            <a:extLst>
              <a:ext uri="{FF2B5EF4-FFF2-40B4-BE49-F238E27FC236}">
                <a16:creationId xmlns:a16="http://schemas.microsoft.com/office/drawing/2014/main" id="{F8B11540-C55D-4770-8A5D-A998FDDEBA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1353799" y="142051"/>
            <a:ext cx="652530" cy="435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465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16C96-C691-4B78-9E0B-E294169B7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188"/>
            <a:ext cx="10515600" cy="650875"/>
          </a:xfrm>
        </p:spPr>
        <p:txBody>
          <a:bodyPr>
            <a:normAutofit fontScale="90000"/>
          </a:bodyPr>
          <a:lstStyle/>
          <a:p>
            <a:r>
              <a:rPr lang="en-GB"/>
              <a:t>Summary of Navigator Findings - Spain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B5453446-2890-45F6-B15B-23FBA193AEF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73054559"/>
              </p:ext>
            </p:extLst>
          </p:nvPr>
        </p:nvGraphicFramePr>
        <p:xfrm>
          <a:off x="838200" y="3013075"/>
          <a:ext cx="10515600" cy="34798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3140895277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095932491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17124052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237539243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4780150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Owned - Commercial</a:t>
                      </a:r>
                    </a:p>
                  </a:txBody>
                  <a:tcPr>
                    <a:solidFill>
                      <a:srgbClr val="FFC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Owned – Medical</a:t>
                      </a:r>
                    </a:p>
                  </a:txBody>
                  <a:tcPr>
                    <a:solidFill>
                      <a:srgbClr val="FFC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Paid</a:t>
                      </a:r>
                    </a:p>
                  </a:txBody>
                  <a:tcPr>
                    <a:solidFill>
                      <a:srgbClr val="FFC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Earned</a:t>
                      </a:r>
                    </a:p>
                  </a:txBody>
                  <a:tcPr>
                    <a:solidFill>
                      <a:srgbClr val="FFC4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0251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Top Performing Channel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 dirty="0"/>
                        <a:t>Rep (F2F &amp; Email): </a:t>
                      </a:r>
                      <a:r>
                        <a:rPr lang="en-US" sz="1200" i="0" dirty="0"/>
                        <a:t>high reach, mid impact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 dirty="0"/>
                        <a:t>Sample &amp; Pharma twitter</a:t>
                      </a:r>
                      <a:r>
                        <a:rPr lang="en-US" sz="1200" i="0" dirty="0"/>
                        <a:t>: high impact, low reach </a:t>
                      </a:r>
                      <a:endParaRPr lang="en-GB" sz="1200" i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/>
                        <a:t>Pharma webcast – </a:t>
                      </a:r>
                      <a:r>
                        <a:rPr lang="en-US" sz="1200" b="0" i="0"/>
                        <a:t>very high reach, mid-high impact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/>
                        <a:t>MSL &amp; Scientific Meetings, and pharma app</a:t>
                      </a:r>
                      <a:r>
                        <a:rPr lang="en-US" sz="1200" b="0" i="0"/>
                        <a:t>: mid/high impact, mid/low reach</a:t>
                      </a:r>
                      <a:endParaRPr lang="en-GB" sz="1200" b="1" i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1"/>
                        <a:t>eCME &amp; Scientific Website: </a:t>
                      </a:r>
                      <a:r>
                        <a:rPr lang="en-US" sz="1200" b="0"/>
                        <a:t>very high impact, very high reach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1"/>
                        <a:t> Scientific </a:t>
                      </a:r>
                      <a:r>
                        <a:rPr lang="en-US" sz="1200" b="1" err="1"/>
                        <a:t>eNewsletter</a:t>
                      </a:r>
                      <a:r>
                        <a:rPr lang="en-US" sz="1200" b="1"/>
                        <a:t> &amp; search engine: </a:t>
                      </a:r>
                      <a:r>
                        <a:rPr lang="en-US" sz="1200" b="0"/>
                        <a:t>High Reach, mid impact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n-GB" sz="1200" b="1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/>
                        <a:t>Treatment Guidelines</a:t>
                      </a:r>
                      <a:r>
                        <a:rPr lang="en-US" sz="1200" b="0"/>
                        <a:t>: very high reach &amp; impact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/>
                        <a:t>Online med journal, health authority website, prof ass. Website</a:t>
                      </a:r>
                      <a:r>
                        <a:rPr lang="en-US" sz="1200" b="0"/>
                        <a:t>: very high reach &amp; impact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/>
                        <a:t>Congresses</a:t>
                      </a:r>
                      <a:r>
                        <a:rPr lang="en-US" sz="1200" b="0"/>
                        <a:t>: highest impact, mid reach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endParaRPr lang="en-GB" sz="1200" b="1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4001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Key Finding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err="1"/>
                        <a:t>Edetailing</a:t>
                      </a:r>
                      <a:r>
                        <a:rPr lang="en-US" sz="1200" dirty="0"/>
                        <a:t> viewed as low reach, mid impac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hannels in this group in ES have more diverse scores than for other markets</a:t>
                      </a:r>
                      <a:endParaRPr lang="en-GB" sz="12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atient Support Program here ranked low on both scor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Most channels in this group are clustered in the mid range for both scores</a:t>
                      </a:r>
                      <a:endParaRPr lang="en-GB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The scores for channels in this group vary and are not significantly clustered</a:t>
                      </a:r>
                      <a:endParaRPr lang="en-GB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dirty="0"/>
                        <a:t>KOLs – low reach, mid impact</a:t>
                      </a:r>
                      <a:endParaRPr lang="en-GB" sz="1200" i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018501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0CF5A8A-5B98-45EE-9689-20F91AA712C3}"/>
              </a:ext>
            </a:extLst>
          </p:cNvPr>
          <p:cNvSpPr txBox="1"/>
          <p:nvPr/>
        </p:nvSpPr>
        <p:spPr>
          <a:xfrm>
            <a:off x="838200" y="2529840"/>
            <a:ext cx="4104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Detailed Summary</a:t>
            </a:r>
            <a:endParaRPr lang="en-GB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A032FA-F5B2-460C-96EB-DB7F5498EF2E}"/>
              </a:ext>
            </a:extLst>
          </p:cNvPr>
          <p:cNvSpPr txBox="1"/>
          <p:nvPr/>
        </p:nvSpPr>
        <p:spPr>
          <a:xfrm>
            <a:off x="838200" y="1118671"/>
            <a:ext cx="1051560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verall Finding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 Spain, Earned channels scores highest for impact &amp; reach, but scores are more varied than for other count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wned, Commercial, &amp; Paid Channels are highly intermixed in a cluster of low reach, mid impac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reatment guidelines are perceived as very high impact &amp; re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ocial Media (</a:t>
            </a:r>
            <a:r>
              <a:rPr lang="en-US" sz="1600" dirty="0" err="1"/>
              <a:t>linkedin</a:t>
            </a:r>
            <a:r>
              <a:rPr lang="en-US" sz="1600" dirty="0"/>
              <a:t> &amp; twitter) are both given mid-to-high impact scores</a:t>
            </a:r>
            <a:endParaRPr lang="en-GB" sz="1600" dirty="0"/>
          </a:p>
        </p:txBody>
      </p:sp>
      <p:pic>
        <p:nvPicPr>
          <p:cNvPr id="9" name="Picture 8" descr="A picture containing square&#10;&#10;Description automatically generated">
            <a:extLst>
              <a:ext uri="{FF2B5EF4-FFF2-40B4-BE49-F238E27FC236}">
                <a16:creationId xmlns:a16="http://schemas.microsoft.com/office/drawing/2014/main" id="{A41E113F-24D7-460F-B8E7-EF402A47DB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1353800" y="230188"/>
            <a:ext cx="652785" cy="435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9985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9420883-BA70-4ED5-ADCC-6379402F83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1707355"/>
              </p:ext>
            </p:extLst>
          </p:nvPr>
        </p:nvGraphicFramePr>
        <p:xfrm>
          <a:off x="2652712" y="95250"/>
          <a:ext cx="4605337" cy="65553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91023">
                  <a:extLst>
                    <a:ext uri="{9D8B030D-6E8A-4147-A177-3AD203B41FA5}">
                      <a16:colId xmlns:a16="http://schemas.microsoft.com/office/drawing/2014/main" val="317624227"/>
                    </a:ext>
                  </a:extLst>
                </a:gridCol>
                <a:gridCol w="1074578">
                  <a:extLst>
                    <a:ext uri="{9D8B030D-6E8A-4147-A177-3AD203B41FA5}">
                      <a16:colId xmlns:a16="http://schemas.microsoft.com/office/drawing/2014/main" val="2506948325"/>
                    </a:ext>
                  </a:extLst>
                </a:gridCol>
                <a:gridCol w="669868">
                  <a:extLst>
                    <a:ext uri="{9D8B030D-6E8A-4147-A177-3AD203B41FA5}">
                      <a16:colId xmlns:a16="http://schemas.microsoft.com/office/drawing/2014/main" val="2939958228"/>
                    </a:ext>
                  </a:extLst>
                </a:gridCol>
                <a:gridCol w="669868">
                  <a:extLst>
                    <a:ext uri="{9D8B030D-6E8A-4147-A177-3AD203B41FA5}">
                      <a16:colId xmlns:a16="http://schemas.microsoft.com/office/drawing/2014/main" val="403658752"/>
                    </a:ext>
                  </a:extLst>
                </a:gridCol>
              </a:tblGrid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u="none" strike="noStrike" dirty="0">
                          <a:effectLst/>
                        </a:rPr>
                        <a:t>Channel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rgbClr val="FFC4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1" u="none" strike="noStrike" dirty="0">
                          <a:effectLst/>
                        </a:rPr>
                        <a:t>Type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rgbClr val="FFC4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>
                          <a:effectLst/>
                        </a:rPr>
                        <a:t>Reach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rgbClr val="FFC4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>
                          <a:effectLst/>
                        </a:rPr>
                        <a:t>Impact</a:t>
                      </a: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rgbClr val="FFC4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3121866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Int'l Congres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8638224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National Congres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8.4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2123718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Health Authority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8.3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3205327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Treatment Guideline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b="0" u="none" strike="noStrike" dirty="0">
                          <a:effectLst/>
                        </a:rPr>
                        <a:t>71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333577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Hospita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27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8.1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92636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Government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8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118524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nline Medical Journa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9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2601595"/>
                  </a:ext>
                </a:extLst>
              </a:tr>
              <a:tr h="20536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rofessional Association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267147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eCM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i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1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0181838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CM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9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710389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Sampl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205301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nline Congres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566817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scientific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1900290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Medical journa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6685780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tient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7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318725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rof Association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6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306981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Colleagu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5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58703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MS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wned - M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5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355303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app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wned - M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5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3258479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Int'l Scientific Meeting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4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2683157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Local Scientific Meeting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wned - M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4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76835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twitter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wned - Comm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3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4306359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ePrescribing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3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6073127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tient Association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2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132714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se IV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wned - M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2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97009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webcast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wned - M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8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343481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cist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37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1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16950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nline Physician Network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1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6314531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KO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10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097411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search engin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9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282822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Medical Education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22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9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80807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 dirty="0">
                          <a:effectLst/>
                        </a:rPr>
                        <a:t>rep/AM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>
                          <a:effectLst/>
                        </a:rPr>
                        <a:t>Owned - Comm</a:t>
                      </a:r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1" u="none" strike="noStrike">
                          <a:effectLst/>
                        </a:rPr>
                        <a:t>41%</a:t>
                      </a:r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1" u="none" strike="noStrike" dirty="0">
                          <a:effectLst/>
                        </a:rPr>
                        <a:t>6.9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788480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remote rep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9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106382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Linkedin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88794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scientific </a:t>
                      </a:r>
                      <a:r>
                        <a:rPr lang="en-GB" sz="750" u="none" strike="noStrike" dirty="0" err="1">
                          <a:effectLst/>
                        </a:rPr>
                        <a:t>eNewsletter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i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9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2746628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Remote MSL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5970043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Detail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5366757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tient Association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5918274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Medical education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900329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rma Service Center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0806341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rma Call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131656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mail rep/A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0880278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banners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410756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4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253401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TV a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.4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2521572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Nurse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.2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2299215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mail MSL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375478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Health Insurance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3593888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rma DM/newsletter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443143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tient Support Progra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073908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conference booth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4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966100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rma eNewsletter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5470186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journal a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7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.9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629917"/>
                  </a:ext>
                </a:extLst>
              </a:tr>
              <a:tr h="104735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Wikipedia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4351160"/>
                  </a:ext>
                </a:extLst>
              </a:tr>
            </a:tbl>
          </a:graphicData>
        </a:graphic>
      </p:graphicFrame>
      <p:pic>
        <p:nvPicPr>
          <p:cNvPr id="5" name="Picture 4" descr="A picture containing square&#10;&#10;Description automatically generated">
            <a:extLst>
              <a:ext uri="{FF2B5EF4-FFF2-40B4-BE49-F238E27FC236}">
                <a16:creationId xmlns:a16="http://schemas.microsoft.com/office/drawing/2014/main" id="{3AA6A9BD-E542-4BF3-9D6A-5D6BCB418B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1353800" y="230188"/>
            <a:ext cx="652785" cy="435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3817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16C96-C691-4B78-9E0B-E294169B7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188"/>
            <a:ext cx="10515600" cy="650875"/>
          </a:xfrm>
        </p:spPr>
        <p:txBody>
          <a:bodyPr>
            <a:normAutofit fontScale="90000"/>
          </a:bodyPr>
          <a:lstStyle/>
          <a:p>
            <a:r>
              <a:rPr lang="en-GB"/>
              <a:t>Summary of Navigator Findings - Netherland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B5453446-2890-45F6-B15B-23FBA193AEF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43829768"/>
              </p:ext>
            </p:extLst>
          </p:nvPr>
        </p:nvGraphicFramePr>
        <p:xfrm>
          <a:off x="909320" y="2599372"/>
          <a:ext cx="10515600" cy="3662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3140895277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095932491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17124052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237539243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4780150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Owned - Commercial</a:t>
                      </a:r>
                    </a:p>
                  </a:txBody>
                  <a:tcPr>
                    <a:solidFill>
                      <a:srgbClr val="AE1C2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Owned – Medical</a:t>
                      </a:r>
                    </a:p>
                  </a:txBody>
                  <a:tcPr>
                    <a:solidFill>
                      <a:srgbClr val="AE1C2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Paid</a:t>
                      </a:r>
                    </a:p>
                  </a:txBody>
                  <a:tcPr>
                    <a:solidFill>
                      <a:srgbClr val="AE1C2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Earned</a:t>
                      </a:r>
                    </a:p>
                  </a:txBody>
                  <a:tcPr>
                    <a:solidFill>
                      <a:srgbClr val="AE1C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0251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Top Performing Channel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1200" b="1" i="0"/>
                        <a:t>F2F Rep &amp; Remote Rep: </a:t>
                      </a:r>
                      <a:r>
                        <a:rPr lang="en-US" sz="1200" b="0" i="0"/>
                        <a:t> F2F rep is high reach/low impact, and remote rep viewed as high impact, low reach. 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1"/>
                        <a:t>Pharma Newsletters, pharma emails, website</a:t>
                      </a:r>
                      <a:r>
                        <a:rPr lang="en-US" sz="1200"/>
                        <a:t>: very high reach, low impact.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endParaRPr lang="en-GB" sz="1200" b="1" i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/>
                        <a:t>Pharma Webcast</a:t>
                      </a:r>
                      <a:r>
                        <a:rPr lang="en-US" sz="1200" b="0" i="0"/>
                        <a:t>: mid/high impact, mid reach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/>
                        <a:t>Scientific Meetings, Phase IV, Medical Education:</a:t>
                      </a:r>
                      <a:r>
                        <a:rPr lang="en-US" sz="1200" b="0" i="0"/>
                        <a:t> mid/high impact, low reach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/>
                        <a:t>MSL</a:t>
                      </a:r>
                      <a:r>
                        <a:rPr lang="en-US" sz="1200" b="0" i="0"/>
                        <a:t>: mid/high reach, mid/low impact</a:t>
                      </a:r>
                      <a:endParaRPr lang="en-GB" sz="1200" b="1" i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1" dirty="0" err="1"/>
                        <a:t>eCME</a:t>
                      </a:r>
                      <a:r>
                        <a:rPr lang="en-US" sz="1200" dirty="0"/>
                        <a:t>: very high impact &amp; very high reach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GB" sz="1200" b="1" dirty="0"/>
                        <a:t>Scientific Website, CME, &amp; Scientific Newsletter</a:t>
                      </a:r>
                      <a:r>
                        <a:rPr lang="en-GB" sz="1200" dirty="0"/>
                        <a:t>: high impact, high reach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/>
                        <a:t>Medical Journal, Colleagues, Prof Ass. Site, &amp; treatment guidelines</a:t>
                      </a:r>
                      <a:r>
                        <a:rPr lang="en-US" sz="1200"/>
                        <a:t>: very high reach, very high impact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/>
                        <a:t>Congresses</a:t>
                      </a:r>
                      <a:r>
                        <a:rPr lang="en-US" sz="1200" b="0"/>
                        <a:t>: very high impact, high reach</a:t>
                      </a:r>
                      <a:endParaRPr lang="en-US" sz="1200" b="1"/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endParaRPr lang="en-GB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4001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Key Finding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Owned Commercial content is viewed as least impactful of the channel groups, but with some of the highest reach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Sample viewed as very low on both scores</a:t>
                      </a:r>
                      <a:endParaRPr lang="en-GB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Owned med content generally viewed as impactful with a low reach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err="1"/>
                        <a:t>ePrescribing</a:t>
                      </a:r>
                      <a:r>
                        <a:rPr lang="en-US" sz="1200"/>
                        <a:t> &amp; </a:t>
                      </a:r>
                      <a:r>
                        <a:rPr lang="en-US" sz="1200" err="1"/>
                        <a:t>linkedin</a:t>
                      </a:r>
                      <a:r>
                        <a:rPr lang="en-US" sz="1200"/>
                        <a:t> score relatively low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TV ads and banners very low impact and reach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dirty="0"/>
                        <a:t>Earned channels are viewed across the board as highly effective, with exception to health insurance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dirty="0"/>
                        <a:t>KOLs score very high on impact &amp; very low on reach</a:t>
                      </a:r>
                      <a:endParaRPr lang="en-GB" sz="1200" i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018501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0CF5A8A-5B98-45EE-9689-20F91AA712C3}"/>
              </a:ext>
            </a:extLst>
          </p:cNvPr>
          <p:cNvSpPr txBox="1"/>
          <p:nvPr/>
        </p:nvSpPr>
        <p:spPr>
          <a:xfrm>
            <a:off x="838200" y="2599372"/>
            <a:ext cx="4104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Detailed Summary</a:t>
            </a:r>
            <a:endParaRPr lang="en-GB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A032FA-F5B2-460C-96EB-DB7F5498EF2E}"/>
              </a:ext>
            </a:extLst>
          </p:cNvPr>
          <p:cNvSpPr txBox="1"/>
          <p:nvPr/>
        </p:nvSpPr>
        <p:spPr>
          <a:xfrm>
            <a:off x="838200" y="1118671"/>
            <a:ext cx="105156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verall Finding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In NL, Earned Channels are viewed as by far the most successfu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Scoring is not highly clustered, care should be taken when selected specific channels for Netherla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Treatment guidelines are perceived as the most impactful across channels</a:t>
            </a:r>
            <a:endParaRPr lang="en-GB" sz="1600"/>
          </a:p>
        </p:txBody>
      </p:sp>
      <p:pic>
        <p:nvPicPr>
          <p:cNvPr id="8" name="Picture 7" descr="Shape, rectangle&#10;&#10;Description automatically generated">
            <a:extLst>
              <a:ext uri="{FF2B5EF4-FFF2-40B4-BE49-F238E27FC236}">
                <a16:creationId xmlns:a16="http://schemas.microsoft.com/office/drawing/2014/main" id="{F2CDCE7F-7E35-45D3-AE9E-1D906A1A19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1262359" y="230188"/>
            <a:ext cx="652785" cy="435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9083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F27E63E-377E-4A5A-BF9A-A5198B7DA3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0619394"/>
              </p:ext>
            </p:extLst>
          </p:nvPr>
        </p:nvGraphicFramePr>
        <p:xfrm>
          <a:off x="3905250" y="301625"/>
          <a:ext cx="3314701" cy="61165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6995">
                  <a:extLst>
                    <a:ext uri="{9D8B030D-6E8A-4147-A177-3AD203B41FA5}">
                      <a16:colId xmlns:a16="http://schemas.microsoft.com/office/drawing/2014/main" val="208405674"/>
                    </a:ext>
                  </a:extLst>
                </a:gridCol>
                <a:gridCol w="773430">
                  <a:extLst>
                    <a:ext uri="{9D8B030D-6E8A-4147-A177-3AD203B41FA5}">
                      <a16:colId xmlns:a16="http://schemas.microsoft.com/office/drawing/2014/main" val="464625286"/>
                    </a:ext>
                  </a:extLst>
                </a:gridCol>
                <a:gridCol w="482138">
                  <a:extLst>
                    <a:ext uri="{9D8B030D-6E8A-4147-A177-3AD203B41FA5}">
                      <a16:colId xmlns:a16="http://schemas.microsoft.com/office/drawing/2014/main" val="3982615541"/>
                    </a:ext>
                  </a:extLst>
                </a:gridCol>
                <a:gridCol w="482138">
                  <a:extLst>
                    <a:ext uri="{9D8B030D-6E8A-4147-A177-3AD203B41FA5}">
                      <a16:colId xmlns:a16="http://schemas.microsoft.com/office/drawing/2014/main" val="447088625"/>
                    </a:ext>
                  </a:extLst>
                </a:gridCol>
              </a:tblGrid>
              <a:tr h="85603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hannel</a:t>
                      </a:r>
                      <a:endParaRPr lang="en-GB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AE1C2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ype</a:t>
                      </a:r>
                      <a:endParaRPr lang="en-GB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AE1C2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ach</a:t>
                      </a:r>
                      <a:endParaRPr lang="en-GB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AE1C2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mpact</a:t>
                      </a:r>
                      <a:endParaRPr lang="en-GB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AE1C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263658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Treatment Guideline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5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.3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026460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Hospita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3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8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7229147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KO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8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540305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nline Physician Network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8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383789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rofessional Association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9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5268828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Int'l Congres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5618991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National Congres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3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7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4190968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CM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3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6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4693071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nline Medical Journa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4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081801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Medical journa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1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3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8768899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Colleagu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7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075057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rof Association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1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5725585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eCM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i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1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1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rgbClr val="F8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942735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scientific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.1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586001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Int'l Scientific Meeting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.9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2804762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Medical Education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.8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37231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eDetai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.8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667279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Health Authority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.6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0590906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Local Scientific Meeting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.6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1641422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tient Association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.5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2742749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cist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8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.4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7880794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se IV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8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.4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8054439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nline Congres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.2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95148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webcast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.2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349986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government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7920600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Remote MS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709015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scientific </a:t>
                      </a:r>
                      <a:r>
                        <a:rPr lang="en-GB" sz="750" u="none" strike="noStrike" dirty="0" err="1">
                          <a:effectLst/>
                        </a:rPr>
                        <a:t>eNewsletter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451846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tient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.8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273372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search engin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.8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357892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Wikipedia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.6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6746097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remote rep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.6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2014772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Nurs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3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.5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913580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eMedical</a:t>
                      </a:r>
                      <a:r>
                        <a:rPr lang="en-GB" sz="750" u="none" strike="noStrike" dirty="0">
                          <a:effectLst/>
                        </a:rPr>
                        <a:t> education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.5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421226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tient Association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.2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498551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MS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.2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041116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Health Insuranc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036343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rep/AM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8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797879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linkedin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1601086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ePrescribing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.9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1060247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Cal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.7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4813550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conference booth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.7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7655983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tient Support Program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.6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41808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mail MS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.4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3837968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</a:t>
                      </a:r>
                      <a:r>
                        <a:rPr lang="en-GB" sz="750" u="none" strike="noStrike" dirty="0" err="1">
                          <a:effectLst/>
                        </a:rPr>
                        <a:t>eNewsletter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8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.7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147355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mail rep/AM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.6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437804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8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.4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2579227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harma DM/newsletter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.2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874129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journal a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.2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523742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banner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6329013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sampl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.7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788917"/>
                  </a:ext>
                </a:extLst>
              </a:tr>
              <a:tr h="8560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TV a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i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1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86" marR="2886" marT="2886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505910"/>
                  </a:ext>
                </a:extLst>
              </a:tr>
            </a:tbl>
          </a:graphicData>
        </a:graphic>
      </p:graphicFrame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29EE37C2-18E4-454B-A03E-21CD3F7D4F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1262359" y="230188"/>
            <a:ext cx="652785" cy="435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4044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16C96-C691-4B78-9E0B-E294169B7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9484"/>
            <a:ext cx="10515600" cy="650875"/>
          </a:xfrm>
        </p:spPr>
        <p:txBody>
          <a:bodyPr>
            <a:normAutofit fontScale="90000"/>
          </a:bodyPr>
          <a:lstStyle/>
          <a:p>
            <a:r>
              <a:rPr lang="en-GB"/>
              <a:t>Summary of Navigator Findings - France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B5453446-2890-45F6-B15B-23FBA193AEF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20228946"/>
              </p:ext>
            </p:extLst>
          </p:nvPr>
        </p:nvGraphicFramePr>
        <p:xfrm>
          <a:off x="838200" y="2730047"/>
          <a:ext cx="10515600" cy="3662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3140895277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095932491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17124052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237539243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4780150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Owned - Commercial</a:t>
                      </a:r>
                    </a:p>
                  </a:txBody>
                  <a:tcPr>
                    <a:solidFill>
                      <a:srgbClr val="0023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Owned – Medical</a:t>
                      </a:r>
                    </a:p>
                  </a:txBody>
                  <a:tcPr>
                    <a:solidFill>
                      <a:srgbClr val="0023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Paid</a:t>
                      </a:r>
                    </a:p>
                  </a:txBody>
                  <a:tcPr>
                    <a:solidFill>
                      <a:srgbClr val="0023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Earned</a:t>
                      </a:r>
                    </a:p>
                  </a:txBody>
                  <a:tcPr>
                    <a:solidFill>
                      <a:srgbClr val="0023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0251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Top Performing Channel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GB" sz="1200" b="1"/>
                        <a:t>F2F Rep</a:t>
                      </a:r>
                      <a:r>
                        <a:rPr lang="en-GB" sz="1200"/>
                        <a:t> – highest Reach and comparable impact to leaders in this group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GB" sz="1200" b="1"/>
                        <a:t>Pharma website: </a:t>
                      </a:r>
                      <a:r>
                        <a:rPr lang="en-GB" sz="1200" b="0"/>
                        <a:t>Same impact as F2F Reps, low/mid reach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n-GB" sz="1200" b="1"/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endParaRPr lang="en-GB" sz="1200" i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/>
                        <a:t>Local Scientific Meeting</a:t>
                      </a:r>
                      <a:r>
                        <a:rPr lang="en-US" sz="1200" b="0" i="0"/>
                        <a:t>: High impact, high reach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/>
                        <a:t>Pharma webcast &amp; </a:t>
                      </a:r>
                      <a:r>
                        <a:rPr lang="en-US" sz="1200" b="1" i="0" err="1"/>
                        <a:t>eMedical</a:t>
                      </a:r>
                      <a:r>
                        <a:rPr lang="en-US" sz="1200" b="1" i="0"/>
                        <a:t> Education:</a:t>
                      </a:r>
                      <a:r>
                        <a:rPr lang="en-US" sz="1200" b="0" i="0"/>
                        <a:t> Mid impact, mid reach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endParaRPr lang="en-GB" sz="1200" b="1" i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1"/>
                        <a:t>eCME</a:t>
                      </a:r>
                      <a:r>
                        <a:rPr lang="en-US" sz="1200"/>
                        <a:t> – high impact &amp; relatively high reach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1"/>
                        <a:t>Search Engine &amp; Scientific </a:t>
                      </a:r>
                      <a:r>
                        <a:rPr lang="en-US" sz="1200" b="1" err="1"/>
                        <a:t>Enewsletter</a:t>
                      </a:r>
                      <a:r>
                        <a:rPr lang="en-US" sz="1200" b="1"/>
                        <a:t> – </a:t>
                      </a:r>
                      <a:r>
                        <a:rPr lang="en-US" sz="1200"/>
                        <a:t>similar reach &amp; impact to F2F rep. 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GB" sz="1200" b="1"/>
                        <a:t>Scientific Website, </a:t>
                      </a:r>
                      <a:r>
                        <a:rPr lang="en-GB" sz="1200" b="1" err="1"/>
                        <a:t>eprescribing</a:t>
                      </a:r>
                      <a:r>
                        <a:rPr lang="en-GB" sz="1200" b="1"/>
                        <a:t>, &amp; CME:</a:t>
                      </a:r>
                      <a:r>
                        <a:rPr lang="en-GB" sz="1200"/>
                        <a:t> high impact, mid reach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/>
                        <a:t>Medical Journal</a:t>
                      </a:r>
                      <a:r>
                        <a:rPr lang="en-US" sz="1200" b="0"/>
                        <a:t> – High Reach &amp; Impact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/>
                        <a:t>Congresses, Colleagues, and Prof Association site</a:t>
                      </a:r>
                      <a:r>
                        <a:rPr lang="en-US" sz="1200" b="0"/>
                        <a:t> high impact, mid reach </a:t>
                      </a:r>
                      <a:endParaRPr lang="en-GB" sz="1200" b="1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4001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Key Finding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err="1"/>
                        <a:t>Edetaiing</a:t>
                      </a:r>
                      <a:r>
                        <a:rPr lang="en-US" sz="1200"/>
                        <a:t> scored only as impactful as reps, but much lower reach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/>
                        <a:t>Pharma newsletters and rep emails have high reach but low impac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/>
                        <a:t>Sample service here is low impact low reach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Most channels in this group fall under low/mid reach, mid impact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MSL F2F are show low reach, mid impact.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SPs show the same impact as Rep F2F visits but much lower reach.</a:t>
                      </a:r>
                      <a:endParaRPr lang="en-GB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Paid channels vary significantly in both reach and impact so must be selected carefull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Banners &amp; TV ads ranked very low on both fields</a:t>
                      </a:r>
                      <a:endParaRPr lang="en-GB" sz="120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dirty="0"/>
                        <a:t>Medical Journal has the highest reach &amp; impact across all channel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dirty="0"/>
                        <a:t>KOLs ranked very low on both reach &amp; impact</a:t>
                      </a:r>
                      <a:endParaRPr lang="en-GB" sz="1200" i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018501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0CF5A8A-5B98-45EE-9689-20F91AA712C3}"/>
              </a:ext>
            </a:extLst>
          </p:cNvPr>
          <p:cNvSpPr txBox="1"/>
          <p:nvPr/>
        </p:nvSpPr>
        <p:spPr>
          <a:xfrm>
            <a:off x="838200" y="2681627"/>
            <a:ext cx="4104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Detailed Summary</a:t>
            </a:r>
            <a:endParaRPr lang="en-GB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A032FA-F5B2-460C-96EB-DB7F5498EF2E}"/>
              </a:ext>
            </a:extLst>
          </p:cNvPr>
          <p:cNvSpPr txBox="1"/>
          <p:nvPr/>
        </p:nvSpPr>
        <p:spPr>
          <a:xfrm>
            <a:off x="838200" y="1118671"/>
            <a:ext cx="105156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verall Finding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In France, Earned &amp; Paid channels both generally result in higher reach &amp; impact relative to owned channe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re are a cluster of channels across all groups sitting under a mid impact/mid reach area, meaning various channels could likely achieve similar resul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02E3106-D574-4B32-BE2A-0DE0B737D6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1353799" y="99484"/>
            <a:ext cx="652529" cy="43501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31C794E-1524-4802-A03B-B7ED585BFFF1}"/>
              </a:ext>
            </a:extLst>
          </p:cNvPr>
          <p:cNvSpPr txBox="1"/>
          <p:nvPr/>
        </p:nvSpPr>
        <p:spPr>
          <a:xfrm>
            <a:off x="838200" y="764304"/>
            <a:ext cx="81642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Based upon Navigator survey data of 40 Rheumatologists performed in Q2, 2020</a:t>
            </a:r>
            <a:endParaRPr lang="en-GB" sz="1400" i="1" dirty="0"/>
          </a:p>
        </p:txBody>
      </p:sp>
    </p:spTree>
    <p:extLst>
      <p:ext uri="{BB962C8B-B14F-4D97-AF65-F5344CB8AC3E}">
        <p14:creationId xmlns:p14="http://schemas.microsoft.com/office/powerpoint/2010/main" val="34701960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7178F28-0C97-4AD9-BCEC-5FCC4E20A2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4297025"/>
              </p:ext>
            </p:extLst>
          </p:nvPr>
        </p:nvGraphicFramePr>
        <p:xfrm>
          <a:off x="2352449" y="274410"/>
          <a:ext cx="4081007" cy="63403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1950">
                  <a:extLst>
                    <a:ext uri="{9D8B030D-6E8A-4147-A177-3AD203B41FA5}">
                      <a16:colId xmlns:a16="http://schemas.microsoft.com/office/drawing/2014/main" val="383611847"/>
                    </a:ext>
                  </a:extLst>
                </a:gridCol>
                <a:gridCol w="969869">
                  <a:extLst>
                    <a:ext uri="{9D8B030D-6E8A-4147-A177-3AD203B41FA5}">
                      <a16:colId xmlns:a16="http://schemas.microsoft.com/office/drawing/2014/main" val="1844322553"/>
                    </a:ext>
                  </a:extLst>
                </a:gridCol>
                <a:gridCol w="604594">
                  <a:extLst>
                    <a:ext uri="{9D8B030D-6E8A-4147-A177-3AD203B41FA5}">
                      <a16:colId xmlns:a16="http://schemas.microsoft.com/office/drawing/2014/main" val="3773048086"/>
                    </a:ext>
                  </a:extLst>
                </a:gridCol>
                <a:gridCol w="604594">
                  <a:extLst>
                    <a:ext uri="{9D8B030D-6E8A-4147-A177-3AD203B41FA5}">
                      <a16:colId xmlns:a16="http://schemas.microsoft.com/office/drawing/2014/main" val="123756623"/>
                    </a:ext>
                  </a:extLst>
                </a:gridCol>
              </a:tblGrid>
              <a:tr h="211247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hannel</a:t>
                      </a:r>
                      <a:endParaRPr lang="en-GB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rgbClr val="002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ype</a:t>
                      </a:r>
                      <a:endParaRPr lang="en-GB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rgbClr val="002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Reach</a:t>
                      </a:r>
                      <a:endParaRPr lang="en-GB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rgbClr val="002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Impact</a:t>
                      </a:r>
                      <a:endParaRPr lang="en-GB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rgbClr val="0023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769586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Prof Association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arn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10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8.2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495744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Treatment Guidelines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arn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10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8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3982361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Prof Association Website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arn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25%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>
                          <a:effectLst/>
                        </a:rPr>
                        <a:t>7.9</a:t>
                      </a:r>
                      <a:endParaRPr lang="en-GB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029786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 err="1">
                          <a:effectLst/>
                        </a:rPr>
                        <a:t>ePrescribing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Pai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25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7.8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046922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Int'l Congress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Earned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22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7.7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9287057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Online Congress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Earned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40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>
                          <a:effectLst/>
                        </a:rPr>
                        <a:t>7.6</a:t>
                      </a:r>
                      <a:endParaRPr lang="en-GB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636482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Online Medical Journal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Earned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45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7.6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6717451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Local Scientific Meeting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Owned - Med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38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7.6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207815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Colleague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Earned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 dirty="0">
                          <a:effectLst/>
                        </a:rPr>
                        <a:t>28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7.5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179970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Medical Journal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Earned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 dirty="0">
                          <a:effectLst/>
                        </a:rPr>
                        <a:t>7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>
                          <a:effectLst/>
                        </a:rPr>
                        <a:t>7.5</a:t>
                      </a:r>
                      <a:endParaRPr lang="en-GB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376989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CME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Paid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 dirty="0">
                          <a:effectLst/>
                        </a:rPr>
                        <a:t>42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7.5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121585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Hospital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arn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 dirty="0">
                          <a:effectLst/>
                        </a:rPr>
                        <a:t>18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7.4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979721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CME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Pai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12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7.4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982704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Phase IV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Owned - Med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 dirty="0">
                          <a:effectLst/>
                        </a:rPr>
                        <a:t>25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7.2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0076765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scientific Website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Pai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 dirty="0">
                          <a:effectLst/>
                        </a:rPr>
                        <a:t>25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7.2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6641887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Medical Education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Owned - M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 dirty="0">
                          <a:effectLst/>
                        </a:rPr>
                        <a:t>1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.9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7011407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Government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arn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 dirty="0">
                          <a:effectLst/>
                        </a:rPr>
                        <a:t>2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.8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203306"/>
                  </a:ext>
                </a:extLst>
              </a:tr>
              <a:tr h="207048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Health Authority Website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arn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 dirty="0">
                          <a:effectLst/>
                        </a:rPr>
                        <a:t>25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.8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4350338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MSL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Owned - M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 dirty="0">
                          <a:effectLst/>
                        </a:rPr>
                        <a:t>18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.8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428598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Patient Support Center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Owned - M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8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.8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9287420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Patient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arn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18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.7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4430342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medical Education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Owned - M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28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.6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7034978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pharma webcast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Owned - M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32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.6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295215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Int'l Scientific Meeting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Owned - M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20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.5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0586701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Scientific Newsletter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Pai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48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.2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804332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Search engine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Pai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52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.2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866338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Patient Support Program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Owned - Me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>
                          <a:effectLst/>
                        </a:rPr>
                        <a:t>18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4331925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pharma website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Owned - Comm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 dirty="0">
                          <a:effectLst/>
                        </a:rPr>
                        <a:t>30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1979714"/>
                  </a:ext>
                </a:extLst>
              </a:tr>
              <a:tr h="21124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Conference booth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Paid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u="none" strike="noStrike" dirty="0">
                          <a:effectLst/>
                        </a:rPr>
                        <a:t>25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1" u="none" strike="noStrike" dirty="0">
                          <a:effectLst/>
                        </a:rPr>
                        <a:t>6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02" marR="5002" marT="5002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0616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50504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0319FDF6-7C94-4271-B31B-822284AC93F5}"/>
              </a:ext>
            </a:extLst>
          </p:cNvPr>
          <p:cNvSpPr txBox="1">
            <a:spLocks/>
          </p:cNvSpPr>
          <p:nvPr/>
        </p:nvSpPr>
        <p:spPr bwMode="auto">
          <a:xfrm>
            <a:off x="720654" y="2484470"/>
            <a:ext cx="10800595" cy="112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200" b="1">
                <a:solidFill>
                  <a:schemeClr val="accent1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ＭＳ Ｐゴシック" pitchFamily="-107" charset="-128"/>
              </a:rPr>
              <a:t>Pulse Trends by Country</a:t>
            </a:r>
            <a:endParaRPr kumimoji="0" lang="en-GB" sz="4200" b="1" i="0" u="none" strike="noStrike" kern="0" cap="none" spc="0" normalizeH="0" baseline="0" noProof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/>
              <a:ea typeface="ＭＳ Ｐゴシック" pitchFamily="-107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15543674"/>
      </p:ext>
    </p:extLst>
  </p:cSld>
  <p:clrMapOvr>
    <a:masterClrMapping/>
  </p:clrMapOvr>
  <p:transition>
    <p:wipe dir="d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t>EU - Acceleration of Life Sciences Digital Engagement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92000" y="6318000"/>
            <a:ext cx="5706000" cy="2448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r">
              <a:lnSpc>
                <a:spcPct val="80000"/>
              </a:lnSpc>
            </a:pPr>
            <a:r>
              <a:rPr sz="1200">
                <a:solidFill>
                  <a:schemeClr val="tx1"/>
                </a:solidFill>
                <a:latin typeface="Calibri"/>
              </a:rPr>
              <a:t>*Engage Meetings March 2020 – March 2021 comparison</a:t>
            </a:r>
          </a:p>
        </p:txBody>
      </p:sp>
      <p:pic>
        <p:nvPicPr>
          <p:cNvPr id="4" name="Picture 3" descr="EU_a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0" y="1011600"/>
            <a:ext cx="5943600" cy="4114800"/>
          </a:xfrm>
          <a:prstGeom prst="rect">
            <a:avLst/>
          </a:prstGeom>
        </p:spPr>
      </p:pic>
      <p:pic>
        <p:nvPicPr>
          <p:cNvPr id="5" name="Picture 4" descr="EU_engag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2400" y="1011600"/>
            <a:ext cx="5943600" cy="4114800"/>
          </a:xfrm>
          <a:prstGeom prst="rect">
            <a:avLst/>
          </a:prstGeom>
        </p:spPr>
      </p:pic>
      <p:pic>
        <p:nvPicPr>
          <p:cNvPr id="6" name="Picture 5" descr="ae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800" y="5079600"/>
            <a:ext cx="736600" cy="736600"/>
          </a:xfrm>
          <a:prstGeom prst="rect">
            <a:avLst/>
          </a:prstGeom>
        </p:spPr>
      </p:pic>
      <p:pic>
        <p:nvPicPr>
          <p:cNvPr id="7" name="Picture 6" descr="engage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2800" y="5079600"/>
            <a:ext cx="736600" cy="736600"/>
          </a:xfrm>
          <a:prstGeom prst="rect">
            <a:avLst/>
          </a:prstGeom>
        </p:spPr>
      </p:pic>
      <p:pic>
        <p:nvPicPr>
          <p:cNvPr id="8" name="Picture 7" descr="openrate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0799" y="5770800"/>
            <a:ext cx="596900" cy="596900"/>
          </a:xfrm>
          <a:prstGeom prst="rect">
            <a:avLst/>
          </a:prstGeom>
        </p:spPr>
      </p:pic>
      <p:pic>
        <p:nvPicPr>
          <p:cNvPr id="9" name="Picture 8" descr="duration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7600" y="5756400"/>
            <a:ext cx="609600" cy="6985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350000" y="5223600"/>
            <a:ext cx="1512000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+582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30000" y="5839200"/>
            <a:ext cx="1368000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56DADB"/>
                </a:solidFill>
                <a:latin typeface="Calibri"/>
              </a:rPr>
              <a:t>42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36000" y="5223600"/>
            <a:ext cx="1821599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+870%*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30400" y="5839200"/>
            <a:ext cx="1655999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18 min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14400" y="5248800"/>
            <a:ext cx="29124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pproved Emails S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14400" y="5864400"/>
            <a:ext cx="21528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vg. Open Rat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776800" y="5248800"/>
            <a:ext cx="32868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Engage Meetings Started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776800" y="5864400"/>
            <a:ext cx="29916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vg. Meeting Duration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7391F5-B5F3-41CC-B1EF-906EC72AAE90}"/>
              </a:ext>
            </a:extLst>
          </p:cNvPr>
          <p:cNvSpPr/>
          <p:nvPr/>
        </p:nvSpPr>
        <p:spPr bwMode="auto">
          <a:xfrm>
            <a:off x="0" y="1823720"/>
            <a:ext cx="12192000" cy="16052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8E2F0F-5138-4267-B06A-D7A83A592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994" y="1082769"/>
            <a:ext cx="10810627" cy="1296987"/>
          </a:xfrm>
        </p:spPr>
        <p:txBody>
          <a:bodyPr/>
          <a:lstStyle/>
          <a:p>
            <a:r>
              <a:rPr lang="en-US"/>
              <a:t>Objectives of Findings</a:t>
            </a:r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2E9B9B8-F59C-4310-B497-760D776B5D2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2154238"/>
            <a:ext cx="10806722" cy="1010602"/>
          </a:xfrm>
        </p:spPr>
        <p:txBody>
          <a:bodyPr/>
          <a:lstStyle/>
          <a:p>
            <a:pPr marL="0" indent="0" algn="ctr">
              <a:buNone/>
            </a:pPr>
            <a:r>
              <a:rPr lang="en-US" sz="2000" b="1"/>
              <a:t>Results of the various findings are </a:t>
            </a:r>
            <a:r>
              <a:rPr lang="en-US" sz="2000" b="1">
                <a:solidFill>
                  <a:schemeClr val="accent1"/>
                </a:solidFill>
              </a:rPr>
              <a:t>intended for reflection, </a:t>
            </a:r>
            <a:r>
              <a:rPr lang="en-US" sz="2000" b="1"/>
              <a:t>to be used as valuable context when selecting primary channels in HCP Journeys, rather than </a:t>
            </a:r>
            <a:r>
              <a:rPr lang="en-US" sz="2000" b="1" i="1"/>
              <a:t>dictating</a:t>
            </a:r>
            <a:r>
              <a:rPr lang="en-US" sz="2000" b="1"/>
              <a:t> which channels are essential.</a:t>
            </a:r>
          </a:p>
          <a:p>
            <a:endParaRPr lang="en-US"/>
          </a:p>
          <a:p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02C742-4FE1-4C92-ADB8-FC828D4AC742}"/>
              </a:ext>
            </a:extLst>
          </p:cNvPr>
          <p:cNvSpPr txBox="1"/>
          <p:nvPr/>
        </p:nvSpPr>
        <p:spPr>
          <a:xfrm>
            <a:off x="945931" y="3495358"/>
            <a:ext cx="103316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/>
              <a:t>Note that findings from the ATU &amp; Navigator reports do not always align, and thus consideration must be taken when using results</a:t>
            </a:r>
            <a:endParaRPr lang="en-GB" sz="1600"/>
          </a:p>
        </p:txBody>
      </p:sp>
    </p:spTree>
    <p:extLst>
      <p:ext uri="{BB962C8B-B14F-4D97-AF65-F5344CB8AC3E}">
        <p14:creationId xmlns:p14="http://schemas.microsoft.com/office/powerpoint/2010/main" val="635572734"/>
      </p:ext>
    </p:extLst>
  </p:cSld>
  <p:clrMapOvr>
    <a:masterClrMapping/>
  </p:clrMapOvr>
  <p:transition>
    <p:wipe dir="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t>Great Britain - Acceleration of Life Sciences Digital Engagement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92000" y="6318000"/>
            <a:ext cx="5706000" cy="2448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r">
              <a:lnSpc>
                <a:spcPct val="80000"/>
              </a:lnSpc>
            </a:pPr>
            <a:r>
              <a:rPr sz="1200">
                <a:solidFill>
                  <a:schemeClr val="tx1"/>
                </a:solidFill>
                <a:latin typeface="Calibri"/>
              </a:rPr>
              <a:t>*Engage Meetings March 2020 – March 2021 comparison</a:t>
            </a:r>
          </a:p>
        </p:txBody>
      </p:sp>
      <p:pic>
        <p:nvPicPr>
          <p:cNvPr id="4" name="Picture 3" descr="Great Britain_a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0" y="1011600"/>
            <a:ext cx="5943600" cy="4114800"/>
          </a:xfrm>
          <a:prstGeom prst="rect">
            <a:avLst/>
          </a:prstGeom>
        </p:spPr>
      </p:pic>
      <p:pic>
        <p:nvPicPr>
          <p:cNvPr id="5" name="Picture 4" descr="Great Britain_engag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2400" y="1011600"/>
            <a:ext cx="5943600" cy="4114800"/>
          </a:xfrm>
          <a:prstGeom prst="rect">
            <a:avLst/>
          </a:prstGeom>
        </p:spPr>
      </p:pic>
      <p:pic>
        <p:nvPicPr>
          <p:cNvPr id="6" name="Picture 5" descr="ae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800" y="5079600"/>
            <a:ext cx="736600" cy="736600"/>
          </a:xfrm>
          <a:prstGeom prst="rect">
            <a:avLst/>
          </a:prstGeom>
        </p:spPr>
      </p:pic>
      <p:pic>
        <p:nvPicPr>
          <p:cNvPr id="7" name="Picture 6" descr="engage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2800" y="5079600"/>
            <a:ext cx="736600" cy="736600"/>
          </a:xfrm>
          <a:prstGeom prst="rect">
            <a:avLst/>
          </a:prstGeom>
        </p:spPr>
      </p:pic>
      <p:pic>
        <p:nvPicPr>
          <p:cNvPr id="8" name="Picture 7" descr="openrate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0799" y="5770800"/>
            <a:ext cx="596900" cy="596900"/>
          </a:xfrm>
          <a:prstGeom prst="rect">
            <a:avLst/>
          </a:prstGeom>
        </p:spPr>
      </p:pic>
      <p:pic>
        <p:nvPicPr>
          <p:cNvPr id="9" name="Picture 8" descr="duration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7600" y="5756400"/>
            <a:ext cx="609600" cy="6985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350000" y="5223600"/>
            <a:ext cx="1512000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+781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30000" y="5839200"/>
            <a:ext cx="1368000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56DADB"/>
                </a:solidFill>
                <a:latin typeface="Calibri"/>
              </a:rPr>
              <a:t>29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36000" y="5223600"/>
            <a:ext cx="1821599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+180%*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30400" y="5839200"/>
            <a:ext cx="1655999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28 min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14400" y="5248800"/>
            <a:ext cx="29124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pproved Emails S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14400" y="5864400"/>
            <a:ext cx="21528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vg. Open Rat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776800" y="5248800"/>
            <a:ext cx="32868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Engage Meetings Started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776800" y="5864400"/>
            <a:ext cx="29916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vg. Meeting Duration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t>Germany - Acceleration of Life Sciences Digital Engagement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92000" y="6318000"/>
            <a:ext cx="5706000" cy="2448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r">
              <a:lnSpc>
                <a:spcPct val="80000"/>
              </a:lnSpc>
            </a:pPr>
            <a:r>
              <a:rPr sz="1200">
                <a:solidFill>
                  <a:schemeClr val="tx1"/>
                </a:solidFill>
                <a:latin typeface="Calibri"/>
              </a:rPr>
              <a:t>*Engage Meetings March 2020 – March 2021 comparison</a:t>
            </a:r>
          </a:p>
        </p:txBody>
      </p:sp>
      <p:pic>
        <p:nvPicPr>
          <p:cNvPr id="4" name="Picture 3" descr="Germany_a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0" y="1011600"/>
            <a:ext cx="5943600" cy="4114800"/>
          </a:xfrm>
          <a:prstGeom prst="rect">
            <a:avLst/>
          </a:prstGeom>
        </p:spPr>
      </p:pic>
      <p:pic>
        <p:nvPicPr>
          <p:cNvPr id="5" name="Picture 4" descr="Germany_engag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2400" y="1011600"/>
            <a:ext cx="5943600" cy="4114800"/>
          </a:xfrm>
          <a:prstGeom prst="rect">
            <a:avLst/>
          </a:prstGeom>
        </p:spPr>
      </p:pic>
      <p:pic>
        <p:nvPicPr>
          <p:cNvPr id="6" name="Picture 5" descr="ae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800" y="5079600"/>
            <a:ext cx="736600" cy="736600"/>
          </a:xfrm>
          <a:prstGeom prst="rect">
            <a:avLst/>
          </a:prstGeom>
        </p:spPr>
      </p:pic>
      <p:pic>
        <p:nvPicPr>
          <p:cNvPr id="7" name="Picture 6" descr="engage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2800" y="5079600"/>
            <a:ext cx="736600" cy="736600"/>
          </a:xfrm>
          <a:prstGeom prst="rect">
            <a:avLst/>
          </a:prstGeom>
        </p:spPr>
      </p:pic>
      <p:pic>
        <p:nvPicPr>
          <p:cNvPr id="8" name="Picture 7" descr="openrate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0799" y="5770800"/>
            <a:ext cx="596900" cy="596900"/>
          </a:xfrm>
          <a:prstGeom prst="rect">
            <a:avLst/>
          </a:prstGeom>
        </p:spPr>
      </p:pic>
      <p:pic>
        <p:nvPicPr>
          <p:cNvPr id="9" name="Picture 8" descr="duration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7600" y="5756400"/>
            <a:ext cx="609600" cy="6985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350000" y="5223600"/>
            <a:ext cx="1512000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+929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30000" y="5839200"/>
            <a:ext cx="1368000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56DADB"/>
                </a:solidFill>
                <a:latin typeface="Calibri"/>
              </a:rPr>
              <a:t>39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36000" y="5223600"/>
            <a:ext cx="1821599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+557%*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30400" y="5839200"/>
            <a:ext cx="1655999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21 min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14400" y="5248800"/>
            <a:ext cx="29124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pproved Emails S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14400" y="5864400"/>
            <a:ext cx="21528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vg. Open Rat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776800" y="5248800"/>
            <a:ext cx="32868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Engage Meetings Started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776800" y="5864400"/>
            <a:ext cx="29916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vg. Meeting Duration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t>France - Acceleration of Life Sciences Digital Engagement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92000" y="6318000"/>
            <a:ext cx="5706000" cy="2448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r">
              <a:lnSpc>
                <a:spcPct val="80000"/>
              </a:lnSpc>
            </a:pPr>
            <a:r>
              <a:rPr sz="1200">
                <a:solidFill>
                  <a:schemeClr val="tx1"/>
                </a:solidFill>
                <a:latin typeface="Calibri"/>
              </a:rPr>
              <a:t>*Engage Meetings March 2020 – March 2021 comparison</a:t>
            </a:r>
          </a:p>
        </p:txBody>
      </p:sp>
      <p:pic>
        <p:nvPicPr>
          <p:cNvPr id="4" name="Picture 3" descr="France_a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0" y="1011600"/>
            <a:ext cx="5943600" cy="4114800"/>
          </a:xfrm>
          <a:prstGeom prst="rect">
            <a:avLst/>
          </a:prstGeom>
        </p:spPr>
      </p:pic>
      <p:pic>
        <p:nvPicPr>
          <p:cNvPr id="5" name="Picture 4" descr="France_engag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2400" y="1011600"/>
            <a:ext cx="5943600" cy="4114800"/>
          </a:xfrm>
          <a:prstGeom prst="rect">
            <a:avLst/>
          </a:prstGeom>
        </p:spPr>
      </p:pic>
      <p:pic>
        <p:nvPicPr>
          <p:cNvPr id="6" name="Picture 5" descr="ae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800" y="5079600"/>
            <a:ext cx="736600" cy="736600"/>
          </a:xfrm>
          <a:prstGeom prst="rect">
            <a:avLst/>
          </a:prstGeom>
        </p:spPr>
      </p:pic>
      <p:pic>
        <p:nvPicPr>
          <p:cNvPr id="7" name="Picture 6" descr="engage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2800" y="5079600"/>
            <a:ext cx="736600" cy="736600"/>
          </a:xfrm>
          <a:prstGeom prst="rect">
            <a:avLst/>
          </a:prstGeom>
        </p:spPr>
      </p:pic>
      <p:pic>
        <p:nvPicPr>
          <p:cNvPr id="8" name="Picture 7" descr="openrate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0799" y="5770800"/>
            <a:ext cx="596900" cy="596900"/>
          </a:xfrm>
          <a:prstGeom prst="rect">
            <a:avLst/>
          </a:prstGeom>
        </p:spPr>
      </p:pic>
      <p:pic>
        <p:nvPicPr>
          <p:cNvPr id="9" name="Picture 8" descr="duration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7600" y="5756400"/>
            <a:ext cx="609600" cy="6985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350000" y="5223600"/>
            <a:ext cx="1512000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+252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30000" y="5839200"/>
            <a:ext cx="1368000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56DADB"/>
                </a:solidFill>
                <a:latin typeface="Calibri"/>
              </a:rPr>
              <a:t>41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36000" y="5223600"/>
            <a:ext cx="1821599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+335%*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30400" y="5839200"/>
            <a:ext cx="1655999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27 min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14400" y="5248800"/>
            <a:ext cx="29124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pproved Emails S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14400" y="5864400"/>
            <a:ext cx="21528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vg. Open Rat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776800" y="5248800"/>
            <a:ext cx="32868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Engage Meetings Started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776800" y="5864400"/>
            <a:ext cx="29916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vg. Meeting Duration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t>Italy - Acceleration of Life Sciences Digital Engagement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92000" y="6318000"/>
            <a:ext cx="5706000" cy="2448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r">
              <a:lnSpc>
                <a:spcPct val="80000"/>
              </a:lnSpc>
            </a:pPr>
            <a:r>
              <a:rPr sz="1200">
                <a:solidFill>
                  <a:schemeClr val="tx1"/>
                </a:solidFill>
                <a:latin typeface="Calibri"/>
              </a:rPr>
              <a:t>*Engage Meetings March 2020 – March 2021 comparison</a:t>
            </a:r>
          </a:p>
        </p:txBody>
      </p:sp>
      <p:pic>
        <p:nvPicPr>
          <p:cNvPr id="4" name="Picture 3" descr="Italy_a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0" y="1011600"/>
            <a:ext cx="5943600" cy="4114800"/>
          </a:xfrm>
          <a:prstGeom prst="rect">
            <a:avLst/>
          </a:prstGeom>
        </p:spPr>
      </p:pic>
      <p:pic>
        <p:nvPicPr>
          <p:cNvPr id="5" name="Picture 4" descr="Italy_engag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2400" y="1011600"/>
            <a:ext cx="5943600" cy="4114800"/>
          </a:xfrm>
          <a:prstGeom prst="rect">
            <a:avLst/>
          </a:prstGeom>
        </p:spPr>
      </p:pic>
      <p:pic>
        <p:nvPicPr>
          <p:cNvPr id="6" name="Picture 5" descr="ae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800" y="5079600"/>
            <a:ext cx="736600" cy="736600"/>
          </a:xfrm>
          <a:prstGeom prst="rect">
            <a:avLst/>
          </a:prstGeom>
        </p:spPr>
      </p:pic>
      <p:pic>
        <p:nvPicPr>
          <p:cNvPr id="7" name="Picture 6" descr="engage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2800" y="5079600"/>
            <a:ext cx="736600" cy="736600"/>
          </a:xfrm>
          <a:prstGeom prst="rect">
            <a:avLst/>
          </a:prstGeom>
        </p:spPr>
      </p:pic>
      <p:pic>
        <p:nvPicPr>
          <p:cNvPr id="8" name="Picture 7" descr="openrate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0799" y="5770800"/>
            <a:ext cx="596900" cy="596900"/>
          </a:xfrm>
          <a:prstGeom prst="rect">
            <a:avLst/>
          </a:prstGeom>
        </p:spPr>
      </p:pic>
      <p:pic>
        <p:nvPicPr>
          <p:cNvPr id="9" name="Picture 8" descr="duration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7600" y="5756400"/>
            <a:ext cx="609600" cy="6985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350000" y="5223600"/>
            <a:ext cx="1512000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+268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30000" y="5839200"/>
            <a:ext cx="1368000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56DADB"/>
                </a:solidFill>
                <a:latin typeface="Calibri"/>
              </a:rPr>
              <a:t>43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36000" y="5223600"/>
            <a:ext cx="1821599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+750%*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30400" y="5839200"/>
            <a:ext cx="1655999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21 min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14400" y="5248800"/>
            <a:ext cx="29124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pproved Emails S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14400" y="5864400"/>
            <a:ext cx="21528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vg. Open Rat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776800" y="5248800"/>
            <a:ext cx="32868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Engage Meetings Started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776800" y="5864400"/>
            <a:ext cx="29916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vg. Meeting Duration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t>Spain - Acceleration of Life Sciences Digital Engagement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92000" y="6318000"/>
            <a:ext cx="5706000" cy="2448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r">
              <a:lnSpc>
                <a:spcPct val="80000"/>
              </a:lnSpc>
            </a:pPr>
            <a:r>
              <a:rPr sz="1200">
                <a:solidFill>
                  <a:schemeClr val="tx1"/>
                </a:solidFill>
                <a:latin typeface="Calibri"/>
              </a:rPr>
              <a:t>*Engage Meetings March 2020 – March 2021 comparison</a:t>
            </a:r>
          </a:p>
        </p:txBody>
      </p:sp>
      <p:pic>
        <p:nvPicPr>
          <p:cNvPr id="4" name="Picture 3" descr="Spain_a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0" y="1011600"/>
            <a:ext cx="5943600" cy="4114800"/>
          </a:xfrm>
          <a:prstGeom prst="rect">
            <a:avLst/>
          </a:prstGeom>
        </p:spPr>
      </p:pic>
      <p:pic>
        <p:nvPicPr>
          <p:cNvPr id="5" name="Picture 4" descr="Spain_engag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2400" y="1011600"/>
            <a:ext cx="5943600" cy="4114800"/>
          </a:xfrm>
          <a:prstGeom prst="rect">
            <a:avLst/>
          </a:prstGeom>
        </p:spPr>
      </p:pic>
      <p:pic>
        <p:nvPicPr>
          <p:cNvPr id="6" name="Picture 5" descr="ae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800" y="5079600"/>
            <a:ext cx="736600" cy="736600"/>
          </a:xfrm>
          <a:prstGeom prst="rect">
            <a:avLst/>
          </a:prstGeom>
        </p:spPr>
      </p:pic>
      <p:pic>
        <p:nvPicPr>
          <p:cNvPr id="7" name="Picture 6" descr="engage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2800" y="5079600"/>
            <a:ext cx="736600" cy="736600"/>
          </a:xfrm>
          <a:prstGeom prst="rect">
            <a:avLst/>
          </a:prstGeom>
        </p:spPr>
      </p:pic>
      <p:pic>
        <p:nvPicPr>
          <p:cNvPr id="8" name="Picture 7" descr="openrate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0799" y="5770800"/>
            <a:ext cx="596900" cy="596900"/>
          </a:xfrm>
          <a:prstGeom prst="rect">
            <a:avLst/>
          </a:prstGeom>
        </p:spPr>
      </p:pic>
      <p:pic>
        <p:nvPicPr>
          <p:cNvPr id="9" name="Picture 8" descr="duration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7600" y="5756400"/>
            <a:ext cx="609600" cy="6985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350000" y="5223600"/>
            <a:ext cx="1512000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+699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30000" y="5839200"/>
            <a:ext cx="1368000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56DADB"/>
                </a:solidFill>
                <a:latin typeface="Calibri"/>
              </a:rPr>
              <a:t>54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36000" y="5223600"/>
            <a:ext cx="1821599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+1,891%*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30400" y="5839200"/>
            <a:ext cx="1655999" cy="4464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800" b="1">
                <a:solidFill>
                  <a:srgbClr val="2491D0"/>
                </a:solidFill>
                <a:latin typeface="Calibri"/>
              </a:rPr>
              <a:t>17 min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14400" y="5248800"/>
            <a:ext cx="29124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pproved Emails S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14400" y="5864400"/>
            <a:ext cx="21528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vg. Open Rat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776800" y="5248800"/>
            <a:ext cx="32868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Engage Meetings Started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776800" y="5864400"/>
            <a:ext cx="2991600" cy="39600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>
                <a:solidFill>
                  <a:schemeClr val="tx1"/>
                </a:solidFill>
                <a:latin typeface="Calibri"/>
              </a:rPr>
              <a:t>Avg. Meeting Duration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C6A2B25-BB17-43C4-BBE4-87C23ED9E10C}"/>
              </a:ext>
            </a:extLst>
          </p:cNvPr>
          <p:cNvSpPr/>
          <p:nvPr/>
        </p:nvSpPr>
        <p:spPr>
          <a:xfrm>
            <a:off x="10802917" y="4978195"/>
            <a:ext cx="1383916" cy="16377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4BADC63-A0BD-4C2B-B36B-A7881D7224E8}"/>
              </a:ext>
            </a:extLst>
          </p:cNvPr>
          <p:cNvSpPr/>
          <p:nvPr/>
        </p:nvSpPr>
        <p:spPr>
          <a:xfrm>
            <a:off x="9959761" y="4978194"/>
            <a:ext cx="2227072" cy="1879805"/>
          </a:xfrm>
          <a:prstGeom prst="rect">
            <a:avLst/>
          </a:prstGeom>
          <a:noFill/>
          <a:ln>
            <a:solidFill>
              <a:srgbClr val="C40E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C40E3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 declines further when channels become less interactive (with the exception of booth visit, although this could be due to its virtual na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4F12BF-8EDD-4781-AF54-9DA07138CA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7AB26F-8304-294B-B078-7857C7701774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9" name="Table 31">
            <a:extLst>
              <a:ext uri="{FF2B5EF4-FFF2-40B4-BE49-F238E27FC236}">
                <a16:creationId xmlns:a16="http://schemas.microsoft.com/office/drawing/2014/main" id="{F4282CD6-61A1-4CD0-B33F-9795ACA47B71}"/>
              </a:ext>
            </a:extLst>
          </p:cNvPr>
          <p:cNvGraphicFramePr>
            <a:graphicFrameLocks noGrp="1"/>
          </p:cNvGraphicFramePr>
          <p:nvPr/>
        </p:nvGraphicFramePr>
        <p:xfrm>
          <a:off x="585216" y="432584"/>
          <a:ext cx="9379712" cy="6172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80568">
                  <a:extLst>
                    <a:ext uri="{9D8B030D-6E8A-4147-A177-3AD203B41FA5}">
                      <a16:colId xmlns:a16="http://schemas.microsoft.com/office/drawing/2014/main" val="2590951617"/>
                    </a:ext>
                  </a:extLst>
                </a:gridCol>
                <a:gridCol w="4399144">
                  <a:extLst>
                    <a:ext uri="{9D8B030D-6E8A-4147-A177-3AD203B41FA5}">
                      <a16:colId xmlns:a16="http://schemas.microsoft.com/office/drawing/2014/main" val="2795799025"/>
                    </a:ext>
                  </a:extLst>
                </a:gridCol>
              </a:tblGrid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Patient support service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592750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Rep- via telephone or webcam/internet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583348748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MSL– face to face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994415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Rep - face to face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817586967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MSL– via phone, webcam or email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8380497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Webinars led by pharmaceutical manufacturers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400683573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Online educational meetings (CME) hosted by company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46714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Medical information service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266304476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E-detail/self-detailing via company website (without a Rep)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7502022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Pharmaceutical company representatives - via email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893853580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Local meeting presenting product information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8829087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Pharmaceutical company websites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512336309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Visit to pharmaceutical company booth at conference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475128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Emails/newsletters from pharmaceutical companies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143253157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u="none" strike="noStrike">
                          <a:effectLst/>
                        </a:rPr>
                        <a:t>Direct mail (via post) from the pharmaceutical company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900"/>
                    </a:p>
                  </a:txBody>
                  <a:tcPr marL="121920" marR="121920" marT="60960" marB="6096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308588"/>
                  </a:ext>
                </a:extLst>
              </a:tr>
            </a:tbl>
          </a:graphicData>
        </a:graphic>
      </p:graphicFrame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08988C81-408F-4BAF-98D7-BCB1885E02FC}"/>
              </a:ext>
            </a:extLst>
          </p:cNvPr>
          <p:cNvGraphicFramePr/>
          <p:nvPr/>
        </p:nvGraphicFramePr>
        <p:xfrm>
          <a:off x="5200299" y="178817"/>
          <a:ext cx="5111172" cy="6679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C318DDEB-C15E-466A-B94C-8F0415C44B33}"/>
              </a:ext>
            </a:extLst>
          </p:cNvPr>
          <p:cNvSpPr/>
          <p:nvPr/>
        </p:nvSpPr>
        <p:spPr>
          <a:xfrm>
            <a:off x="9959761" y="295432"/>
            <a:ext cx="2221905" cy="465354"/>
          </a:xfrm>
          <a:prstGeom prst="rect">
            <a:avLst/>
          </a:prstGeom>
          <a:noFill/>
          <a:ln>
            <a:solidFill>
              <a:srgbClr val="C40E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C40E3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est impact on 1L preferenc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9303371-E3D6-46AE-9D8D-0FC47AAD6FC6}"/>
              </a:ext>
            </a:extLst>
          </p:cNvPr>
          <p:cNvSpPr/>
          <p:nvPr/>
        </p:nvSpPr>
        <p:spPr>
          <a:xfrm>
            <a:off x="9964928" y="1372423"/>
            <a:ext cx="2227072" cy="821070"/>
          </a:xfrm>
          <a:prstGeom prst="rect">
            <a:avLst/>
          </a:prstGeom>
          <a:noFill/>
          <a:ln>
            <a:solidFill>
              <a:srgbClr val="C40E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C40E3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arable impact between f2f vs. remote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268CFAE-ECB6-4D6F-8C7D-11A09ACCA1F4}"/>
              </a:ext>
            </a:extLst>
          </p:cNvPr>
          <p:cNvCxnSpPr>
            <a:cxnSpLocks/>
          </p:cNvCxnSpPr>
          <p:nvPr/>
        </p:nvCxnSpPr>
        <p:spPr>
          <a:xfrm>
            <a:off x="406400" y="897939"/>
            <a:ext cx="97210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DC0C118-E13C-43DF-BC6B-1D50B431947A}"/>
              </a:ext>
            </a:extLst>
          </p:cNvPr>
          <p:cNvCxnSpPr>
            <a:cxnSpLocks/>
          </p:cNvCxnSpPr>
          <p:nvPr/>
        </p:nvCxnSpPr>
        <p:spPr>
          <a:xfrm>
            <a:off x="406400" y="2547923"/>
            <a:ext cx="97210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77E432A-F4AB-4E4A-B822-BF458AC019FB}"/>
              </a:ext>
            </a:extLst>
          </p:cNvPr>
          <p:cNvCxnSpPr>
            <a:cxnSpLocks/>
          </p:cNvCxnSpPr>
          <p:nvPr/>
        </p:nvCxnSpPr>
        <p:spPr>
          <a:xfrm>
            <a:off x="406400" y="4978195"/>
            <a:ext cx="97210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D53DF1DD-EB6A-4E92-9F26-EDBEE26C8543}"/>
              </a:ext>
            </a:extLst>
          </p:cNvPr>
          <p:cNvSpPr/>
          <p:nvPr/>
        </p:nvSpPr>
        <p:spPr>
          <a:xfrm>
            <a:off x="9964928" y="2951414"/>
            <a:ext cx="2221905" cy="1637729"/>
          </a:xfrm>
          <a:prstGeom prst="rect">
            <a:avLst/>
          </a:prstGeom>
          <a:noFill/>
          <a:ln>
            <a:solidFill>
              <a:srgbClr val="C40E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C40E3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 declines when channels become more one-to-many and less person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954336-0BBB-4F4A-89F3-FA116DC9B92E}"/>
              </a:ext>
            </a:extLst>
          </p:cNvPr>
          <p:cNvSpPr txBox="1"/>
          <p:nvPr/>
        </p:nvSpPr>
        <p:spPr>
          <a:xfrm>
            <a:off x="8962617" y="449017"/>
            <a:ext cx="456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2AE956-76B0-4D5B-B55C-EBC512B0DF7B}"/>
              </a:ext>
            </a:extLst>
          </p:cNvPr>
          <p:cNvSpPr txBox="1"/>
          <p:nvPr/>
        </p:nvSpPr>
        <p:spPr>
          <a:xfrm>
            <a:off x="6371318" y="6592193"/>
            <a:ext cx="35222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Having interacted with a company about PSP </a:t>
            </a:r>
          </a:p>
        </p:txBody>
      </p:sp>
    </p:spTree>
    <p:extLst>
      <p:ext uri="{BB962C8B-B14F-4D97-AF65-F5344CB8AC3E}">
        <p14:creationId xmlns:p14="http://schemas.microsoft.com/office/powerpoint/2010/main" val="28538335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0B03CFB-0ACA-4EC5-8F60-3AA689077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686" y="2735407"/>
            <a:ext cx="10810627" cy="1374476"/>
          </a:xfrm>
        </p:spPr>
        <p:txBody>
          <a:bodyPr/>
          <a:lstStyle/>
          <a:p>
            <a:pPr algn="ctr"/>
            <a:r>
              <a:rPr lang="en-GB" dirty="0"/>
              <a:t>Appendix – Channel Story</a:t>
            </a:r>
          </a:p>
        </p:txBody>
      </p:sp>
    </p:spTree>
    <p:extLst>
      <p:ext uri="{BB962C8B-B14F-4D97-AF65-F5344CB8AC3E}">
        <p14:creationId xmlns:p14="http://schemas.microsoft.com/office/powerpoint/2010/main" val="825557404"/>
      </p:ext>
    </p:extLst>
  </p:cSld>
  <p:clrMapOvr>
    <a:masterClrMapping/>
  </p:clrMapOvr>
  <p:transition>
    <p:wipe dir="d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2C6102A-B52C-4A5B-91B0-2129372A9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annel Data Sourc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5B1150-B8C1-4A10-A2F2-A31EBB03BE73}"/>
              </a:ext>
            </a:extLst>
          </p:cNvPr>
          <p:cNvSpPr/>
          <p:nvPr/>
        </p:nvSpPr>
        <p:spPr bwMode="auto">
          <a:xfrm>
            <a:off x="0" y="1332423"/>
            <a:ext cx="12192000" cy="10964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46B753D-763C-4524-AE43-FF85BC9830FB}"/>
              </a:ext>
            </a:extLst>
          </p:cNvPr>
          <p:cNvSpPr txBox="1">
            <a:spLocks/>
          </p:cNvSpPr>
          <p:nvPr/>
        </p:nvSpPr>
        <p:spPr bwMode="auto">
          <a:xfrm>
            <a:off x="651994" y="1484747"/>
            <a:ext cx="10806722" cy="946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 sz="2400"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 pitchFamily="-107" charset="-128"/>
              </a:defRPr>
            </a:lvl1pPr>
            <a:lvl2pPr marL="692117" indent="-295261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tabLst>
                <a:tab pos="973091" algn="l"/>
                <a:tab pos="1481067" algn="l"/>
              </a:tabLst>
              <a:defRPr sz="2000" baseline="0">
                <a:solidFill>
                  <a:srgbClr val="000000"/>
                </a:solidFill>
                <a:latin typeface="Tahoma" pitchFamily="34" charset="0"/>
                <a:ea typeface="ＭＳ Ｐゴシック" pitchFamily="-107" charset="-128"/>
                <a:cs typeface="ＭＳ Ｐゴシック"/>
              </a:defRPr>
            </a:lvl2pPr>
            <a:lvl3pPr marL="806412" indent="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tabLst>
                <a:tab pos="973091" algn="l"/>
                <a:tab pos="1481067" algn="l"/>
              </a:tabLst>
              <a:defRPr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3pPr>
            <a:lvl4pPr marL="1495367" indent="-28575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tabLst>
                <a:tab pos="973091" algn="l"/>
                <a:tab pos="1481067" algn="l"/>
              </a:tabLst>
              <a:defRPr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4pPr>
            <a:lvl5pPr marL="2081113" indent="-285737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110000"/>
              <a:buFont typeface="Arial" charset="0"/>
              <a:buChar char="•"/>
              <a:tabLst>
                <a:tab pos="973091" algn="l"/>
                <a:tab pos="1481067" algn="l"/>
              </a:tabLst>
              <a:defRPr sz="1600"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5pPr>
            <a:lvl6pPr marL="2257317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6pPr>
            <a:lvl7pPr marL="2714495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7pPr>
            <a:lvl8pPr marL="3171674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8pPr>
            <a:lvl9pPr marL="3628852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kern="0" dirty="0"/>
              <a:t>We have lots of </a:t>
            </a:r>
            <a:r>
              <a:rPr lang="en-GB" b="1" kern="0" dirty="0">
                <a:solidFill>
                  <a:schemeClr val="tx2"/>
                </a:solidFill>
              </a:rPr>
              <a:t>existing sources of data</a:t>
            </a:r>
            <a:r>
              <a:rPr lang="en-GB" kern="0" dirty="0"/>
              <a:t> to understand the channel preferences of our target HCPs</a:t>
            </a:r>
            <a:endParaRPr lang="en-GB" b="1" kern="0" dirty="0">
              <a:solidFill>
                <a:schemeClr val="accent1"/>
              </a:solidFill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FC5B8DB3-2698-419D-907E-E883F3BBCC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704" y="2905125"/>
            <a:ext cx="3555595" cy="711120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FD20B339-70CE-4117-A05B-E43EB056C3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41" y="2930445"/>
            <a:ext cx="2124767" cy="52512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9AE52DE-17AF-40BA-8AF6-F63F3111C740}"/>
              </a:ext>
            </a:extLst>
          </p:cNvPr>
          <p:cNvSpPr txBox="1"/>
          <p:nvPr/>
        </p:nvSpPr>
        <p:spPr>
          <a:xfrm>
            <a:off x="5422270" y="3455567"/>
            <a:ext cx="18885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Pulse</a:t>
            </a:r>
            <a:endParaRPr lang="en-GB" b="1" dirty="0">
              <a:solidFill>
                <a:schemeClr val="accent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31DAFF5-AE48-44A9-84C9-52948DE4AF1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1" t="15773" r="291" b="9054"/>
          <a:stretch/>
        </p:blipFill>
        <p:spPr>
          <a:xfrm>
            <a:off x="4606427" y="4263666"/>
            <a:ext cx="3602706" cy="151733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401CF75-6138-4A82-AAB8-C73B2579E38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648" t="327" r="7673"/>
          <a:stretch/>
        </p:blipFill>
        <p:spPr>
          <a:xfrm>
            <a:off x="887010" y="4137333"/>
            <a:ext cx="3079375" cy="170185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0C15611-3E23-4B0B-BEE6-8E6431E71C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7211" y="4259521"/>
            <a:ext cx="2476486" cy="163650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E9D8B91-5A6F-4F88-B7C4-0737258927B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615"/>
          <a:stretch/>
        </p:blipFill>
        <p:spPr>
          <a:xfrm>
            <a:off x="8897211" y="2934305"/>
            <a:ext cx="805948" cy="68194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3219C7C-CAFE-46B9-A634-C52D9DF3ED7D}"/>
              </a:ext>
            </a:extLst>
          </p:cNvPr>
          <p:cNvSpPr txBox="1"/>
          <p:nvPr/>
        </p:nvSpPr>
        <p:spPr>
          <a:xfrm>
            <a:off x="9703159" y="2930445"/>
            <a:ext cx="18368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rgbClr val="455BA6"/>
                </a:solidFill>
              </a:rPr>
              <a:t>ATU </a:t>
            </a:r>
          </a:p>
          <a:p>
            <a:r>
              <a:rPr lang="en-GB" sz="2000" b="1" dirty="0">
                <a:solidFill>
                  <a:srgbClr val="00B0AB"/>
                </a:solidFill>
              </a:rPr>
              <a:t>Insights</a:t>
            </a:r>
          </a:p>
        </p:txBody>
      </p:sp>
    </p:spTree>
    <p:extLst>
      <p:ext uri="{BB962C8B-B14F-4D97-AF65-F5344CB8AC3E}">
        <p14:creationId xmlns:p14="http://schemas.microsoft.com/office/powerpoint/2010/main" val="3275638067"/>
      </p:ext>
    </p:extLst>
  </p:cSld>
  <p:clrMapOvr>
    <a:masterClrMapping/>
  </p:clrMapOvr>
  <p:transition>
    <p:wipe dir="d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2C6102A-B52C-4A5B-91B0-2129372A9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uchpoints Options Per Scenario</a:t>
            </a:r>
          </a:p>
        </p:txBody>
      </p:sp>
      <p:sp>
        <p:nvSpPr>
          <p:cNvPr id="4" name="Round Single Corner Rectangle 1">
            <a:extLst>
              <a:ext uri="{FF2B5EF4-FFF2-40B4-BE49-F238E27FC236}">
                <a16:creationId xmlns:a16="http://schemas.microsoft.com/office/drawing/2014/main" id="{D1250404-6021-4AA4-A0ED-2AAA9117E380}"/>
              </a:ext>
            </a:extLst>
          </p:cNvPr>
          <p:cNvSpPr/>
          <p:nvPr/>
        </p:nvSpPr>
        <p:spPr>
          <a:xfrm flipH="1">
            <a:off x="850521" y="1346680"/>
            <a:ext cx="2188491" cy="91143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charset="0"/>
                <a:cs typeface="ＭＳ Ｐゴシック" charset="0"/>
              </a:rPr>
              <a:t>Field-Driven</a:t>
            </a:r>
          </a:p>
        </p:txBody>
      </p:sp>
      <p:sp>
        <p:nvSpPr>
          <p:cNvPr id="7" name="Round Single Corner Rectangle 1">
            <a:extLst>
              <a:ext uri="{FF2B5EF4-FFF2-40B4-BE49-F238E27FC236}">
                <a16:creationId xmlns:a16="http://schemas.microsoft.com/office/drawing/2014/main" id="{D13938D1-5022-4A8D-AFFF-512AC4360E61}"/>
              </a:ext>
            </a:extLst>
          </p:cNvPr>
          <p:cNvSpPr/>
          <p:nvPr/>
        </p:nvSpPr>
        <p:spPr>
          <a:xfrm flipH="1">
            <a:off x="4815683" y="1339897"/>
            <a:ext cx="2188491" cy="91143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charset="0"/>
                <a:cs typeface="ＭＳ Ｐゴシック" charset="0"/>
              </a:rPr>
              <a:t>HCP-Driven</a:t>
            </a:r>
          </a:p>
        </p:txBody>
      </p:sp>
      <p:sp>
        <p:nvSpPr>
          <p:cNvPr id="8" name="Round Single Corner Rectangle 1">
            <a:extLst>
              <a:ext uri="{FF2B5EF4-FFF2-40B4-BE49-F238E27FC236}">
                <a16:creationId xmlns:a16="http://schemas.microsoft.com/office/drawing/2014/main" id="{57E59218-4808-4882-9BB0-C50E9D64A4FD}"/>
              </a:ext>
            </a:extLst>
          </p:cNvPr>
          <p:cNvSpPr/>
          <p:nvPr/>
        </p:nvSpPr>
        <p:spPr>
          <a:xfrm flipH="1">
            <a:off x="8993354" y="1346680"/>
            <a:ext cx="2188491" cy="91143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charset="0"/>
                <a:cs typeface="ＭＳ Ｐゴシック" charset="0"/>
              </a:rPr>
              <a:t>Event-Driven</a:t>
            </a:r>
          </a:p>
        </p:txBody>
      </p:sp>
      <p:pic>
        <p:nvPicPr>
          <p:cNvPr id="9" name="Picture 8" descr="A gro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F3C8CB2F-2FD6-48CA-83D8-B6EA3D9F3A0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" t="53710" r="74297" b="8871"/>
          <a:stretch/>
        </p:blipFill>
        <p:spPr>
          <a:xfrm>
            <a:off x="884478" y="2322621"/>
            <a:ext cx="2188491" cy="1357486"/>
          </a:xfrm>
          <a:prstGeom prst="rect">
            <a:avLst/>
          </a:prstGeom>
        </p:spPr>
      </p:pic>
      <p:pic>
        <p:nvPicPr>
          <p:cNvPr id="10" name="Picture 9" descr="A picture containing wall, skiing, different, various&#10;&#10;Description automatically generated">
            <a:extLst>
              <a:ext uri="{FF2B5EF4-FFF2-40B4-BE49-F238E27FC236}">
                <a16:creationId xmlns:a16="http://schemas.microsoft.com/office/drawing/2014/main" id="{A4617D3B-91B4-43A8-8AFA-ECAE236D267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68" t="73750" r="35678" b="6591"/>
          <a:stretch/>
        </p:blipFill>
        <p:spPr>
          <a:xfrm>
            <a:off x="4703394" y="2543013"/>
            <a:ext cx="2326057" cy="1137094"/>
          </a:xfrm>
          <a:prstGeom prst="rect">
            <a:avLst/>
          </a:prstGeom>
        </p:spPr>
      </p:pic>
      <p:pic>
        <p:nvPicPr>
          <p:cNvPr id="11" name="Picture 10" descr="A picture containing text, indoor, screen, several&#10;&#10;Description automatically generated">
            <a:extLst>
              <a:ext uri="{FF2B5EF4-FFF2-40B4-BE49-F238E27FC236}">
                <a16:creationId xmlns:a16="http://schemas.microsoft.com/office/drawing/2014/main" id="{A9C1E58D-9F2D-4423-8ED5-13234D912B9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41" t="8990" r="4297" b="51063"/>
          <a:stretch/>
        </p:blipFill>
        <p:spPr>
          <a:xfrm>
            <a:off x="8938676" y="2332739"/>
            <a:ext cx="2243169" cy="143291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1114FED-C88C-49AE-8EE8-AC04757C1533}"/>
              </a:ext>
            </a:extLst>
          </p:cNvPr>
          <p:cNvSpPr/>
          <p:nvPr/>
        </p:nvSpPr>
        <p:spPr>
          <a:xfrm>
            <a:off x="792559" y="3807533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2"/>
                </a:solidFill>
              </a:rPr>
              <a:t>E-Detail (F2F)</a:t>
            </a:r>
            <a:endParaRPr lang="en-GB" sz="1200">
              <a:solidFill>
                <a:schemeClr val="tx2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DC0B41-377B-47F4-B7B7-10B5214379E3}"/>
              </a:ext>
            </a:extLst>
          </p:cNvPr>
          <p:cNvSpPr/>
          <p:nvPr/>
        </p:nvSpPr>
        <p:spPr>
          <a:xfrm>
            <a:off x="792559" y="4173635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Engage Call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E658ACC-EE89-45F3-80E6-AC60BA5F7F3C}"/>
              </a:ext>
            </a:extLst>
          </p:cNvPr>
          <p:cNvSpPr/>
          <p:nvPr/>
        </p:nvSpPr>
        <p:spPr>
          <a:xfrm>
            <a:off x="792559" y="4539737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Approved Email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A34AD6-8770-4B0B-8FF8-E2A9E06E4777}"/>
              </a:ext>
            </a:extLst>
          </p:cNvPr>
          <p:cNvSpPr/>
          <p:nvPr/>
        </p:nvSpPr>
        <p:spPr>
          <a:xfrm>
            <a:off x="792559" y="4905839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Physical Mail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717826A-77AD-43CA-8E6D-502B3AD65A3E}"/>
              </a:ext>
            </a:extLst>
          </p:cNvPr>
          <p:cNvSpPr/>
          <p:nvPr/>
        </p:nvSpPr>
        <p:spPr>
          <a:xfrm>
            <a:off x="792559" y="5271941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Leave-Behinds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0AEAF33-FBB7-40D1-9398-E1EC8C43D392}"/>
              </a:ext>
            </a:extLst>
          </p:cNvPr>
          <p:cNvSpPr/>
          <p:nvPr/>
        </p:nvSpPr>
        <p:spPr>
          <a:xfrm>
            <a:off x="792559" y="5638043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2"/>
                </a:solidFill>
              </a:rPr>
              <a:t>Links to External Resources (Websites etc.)</a:t>
            </a:r>
            <a:endParaRPr lang="en-GB" sz="1000" dirty="0">
              <a:solidFill>
                <a:schemeClr val="tx2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0878C5-DFB6-4193-8B35-41466C4121B7}"/>
              </a:ext>
            </a:extLst>
          </p:cNvPr>
          <p:cNvSpPr/>
          <p:nvPr/>
        </p:nvSpPr>
        <p:spPr>
          <a:xfrm>
            <a:off x="792559" y="6004148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More?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743EC7D-A2EB-4F9B-A398-497DD0BB825C}"/>
              </a:ext>
            </a:extLst>
          </p:cNvPr>
          <p:cNvSpPr/>
          <p:nvPr/>
        </p:nvSpPr>
        <p:spPr>
          <a:xfrm>
            <a:off x="4715864" y="3807533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Galapagos Health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8D3ED20-FAF2-495E-8E89-3C410742BFAF}"/>
              </a:ext>
            </a:extLst>
          </p:cNvPr>
          <p:cNvSpPr/>
          <p:nvPr/>
        </p:nvSpPr>
        <p:spPr>
          <a:xfrm>
            <a:off x="4715864" y="4173635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3</a:t>
            </a:r>
            <a:r>
              <a:rPr lang="en-US" sz="1200" baseline="30000" dirty="0">
                <a:solidFill>
                  <a:schemeClr val="tx2"/>
                </a:solidFill>
              </a:rPr>
              <a:t>rd</a:t>
            </a:r>
            <a:r>
              <a:rPr lang="en-US" sz="1200" dirty="0">
                <a:solidFill>
                  <a:schemeClr val="tx2"/>
                </a:solidFill>
              </a:rPr>
              <a:t> Party Websites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F3CD30-CF14-4615-90C7-13FEE1AB4171}"/>
              </a:ext>
            </a:extLst>
          </p:cNvPr>
          <p:cNvSpPr/>
          <p:nvPr/>
        </p:nvSpPr>
        <p:spPr>
          <a:xfrm>
            <a:off x="4715864" y="4905839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Digital Media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74C6A5E-C340-4B38-A395-3755646DA1F5}"/>
              </a:ext>
            </a:extLst>
          </p:cNvPr>
          <p:cNvSpPr/>
          <p:nvPr/>
        </p:nvSpPr>
        <p:spPr>
          <a:xfrm>
            <a:off x="4715864" y="5271941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Mass Email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2CD8727-A37B-44D2-B694-649E0CCAD1DB}"/>
              </a:ext>
            </a:extLst>
          </p:cNvPr>
          <p:cNvSpPr/>
          <p:nvPr/>
        </p:nvSpPr>
        <p:spPr>
          <a:xfrm>
            <a:off x="4715864" y="5638043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3</a:t>
            </a:r>
            <a:r>
              <a:rPr lang="en-US" sz="1200" baseline="30000" dirty="0">
                <a:solidFill>
                  <a:schemeClr val="tx2"/>
                </a:solidFill>
              </a:rPr>
              <a:t>rd</a:t>
            </a:r>
            <a:r>
              <a:rPr lang="en-US" sz="1200" dirty="0">
                <a:solidFill>
                  <a:schemeClr val="tx2"/>
                </a:solidFill>
              </a:rPr>
              <a:t> Party Publications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AE482D8-755F-4BFC-9097-AB4A8C67B919}"/>
              </a:ext>
            </a:extLst>
          </p:cNvPr>
          <p:cNvSpPr/>
          <p:nvPr/>
        </p:nvSpPr>
        <p:spPr>
          <a:xfrm>
            <a:off x="4715864" y="6004148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Podcasts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2799AB0-3B4F-40B1-85A8-270B49982DA8}"/>
              </a:ext>
            </a:extLst>
          </p:cNvPr>
          <p:cNvSpPr/>
          <p:nvPr/>
        </p:nvSpPr>
        <p:spPr>
          <a:xfrm>
            <a:off x="4715864" y="4539737"/>
            <a:ext cx="2275840" cy="3493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Peer Webinars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2BDB947-0800-4DA7-994D-42339D6183A8}"/>
              </a:ext>
            </a:extLst>
          </p:cNvPr>
          <p:cNvSpPr/>
          <p:nvPr/>
        </p:nvSpPr>
        <p:spPr>
          <a:xfrm>
            <a:off x="8922340" y="3765656"/>
            <a:ext cx="2275840" cy="42267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</a:rPr>
              <a:t>All Channels </a:t>
            </a:r>
            <a:endParaRPr lang="en-GB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595347"/>
      </p:ext>
    </p:extLst>
  </p:cSld>
  <p:clrMapOvr>
    <a:masterClrMapping/>
  </p:clrMapOvr>
  <p:transition>
    <p:wipe dir="d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F90A750-C7AA-4A41-AA2E-FB58AF5EF791}"/>
              </a:ext>
            </a:extLst>
          </p:cNvPr>
          <p:cNvSpPr/>
          <p:nvPr/>
        </p:nvSpPr>
        <p:spPr bwMode="auto">
          <a:xfrm>
            <a:off x="596083" y="3999131"/>
            <a:ext cx="3375896" cy="129792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0CB7B0-61B4-478F-87E7-D690A24F0FC4}"/>
              </a:ext>
            </a:extLst>
          </p:cNvPr>
          <p:cNvSpPr/>
          <p:nvPr/>
        </p:nvSpPr>
        <p:spPr bwMode="auto">
          <a:xfrm>
            <a:off x="0" y="1077996"/>
            <a:ext cx="12192000" cy="16052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2C6102A-B52C-4A5B-91B0-2129372A9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nerating Behavioural Preferenc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4111649-A0A5-4F46-B9AF-1FECD137414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51994" y="1484747"/>
            <a:ext cx="10806722" cy="946707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The reality is that market research can</a:t>
            </a:r>
            <a:r>
              <a:rPr lang="en-GB" b="1" dirty="0">
                <a:solidFill>
                  <a:schemeClr val="accent1"/>
                </a:solidFill>
              </a:rPr>
              <a:t> never give us 100% accuracy</a:t>
            </a:r>
            <a:r>
              <a:rPr lang="en-GB" dirty="0"/>
              <a:t>, we must learn the channel preferences ourselves – </a:t>
            </a:r>
            <a:r>
              <a:rPr lang="en-GB" b="1" dirty="0">
                <a:solidFill>
                  <a:schemeClr val="accent1"/>
                </a:solidFill>
              </a:rPr>
              <a:t>gathering insight by a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3D8CE85-4D3F-44E7-8907-F99DDB0BE654}"/>
              </a:ext>
            </a:extLst>
          </p:cNvPr>
          <p:cNvSpPr txBox="1"/>
          <p:nvPr/>
        </p:nvSpPr>
        <p:spPr>
          <a:xfrm>
            <a:off x="921064" y="4142042"/>
            <a:ext cx="28007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>
                <a:solidFill>
                  <a:schemeClr val="tx2"/>
                </a:solidFill>
              </a:rPr>
              <a:t>Launch Campaigns &amp; </a:t>
            </a:r>
            <a:r>
              <a:rPr lang="en-GB" sz="1600" b="1" dirty="0">
                <a:solidFill>
                  <a:schemeClr val="tx2"/>
                </a:solidFill>
              </a:rPr>
              <a:t>interact </a:t>
            </a:r>
            <a:r>
              <a:rPr lang="en-GB" sz="1600" dirty="0">
                <a:solidFill>
                  <a:schemeClr val="tx2"/>
                </a:solidFill>
              </a:rPr>
              <a:t>with Physicia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20C9DB8-CBC7-4E31-B76C-E65DB563186C}"/>
              </a:ext>
            </a:extLst>
          </p:cNvPr>
          <p:cNvSpPr/>
          <p:nvPr/>
        </p:nvSpPr>
        <p:spPr bwMode="auto">
          <a:xfrm>
            <a:off x="596083" y="3352800"/>
            <a:ext cx="3375896" cy="646331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tep 1 - Eng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B7048B-1A8B-48A9-917B-111F79F57E4C}"/>
              </a:ext>
            </a:extLst>
          </p:cNvPr>
          <p:cNvSpPr/>
          <p:nvPr/>
        </p:nvSpPr>
        <p:spPr bwMode="auto">
          <a:xfrm>
            <a:off x="4415608" y="3999131"/>
            <a:ext cx="3375896" cy="129792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2FBB0C6-BAC0-4D59-81ED-D9FD7BBAA8C7}"/>
              </a:ext>
            </a:extLst>
          </p:cNvPr>
          <p:cNvSpPr txBox="1"/>
          <p:nvPr/>
        </p:nvSpPr>
        <p:spPr>
          <a:xfrm>
            <a:off x="4600550" y="4142042"/>
            <a:ext cx="30808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tx2"/>
                </a:solidFill>
              </a:rPr>
              <a:t>Measure</a:t>
            </a:r>
            <a:r>
              <a:rPr lang="en-GB" sz="1600" dirty="0">
                <a:solidFill>
                  <a:schemeClr val="tx2"/>
                </a:solidFill>
              </a:rPr>
              <a:t> Open Rates, F2F/Remote call ratios, gather qualitative rep input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0B6B7FB-8F50-4DA3-B1F1-963B1B2668E7}"/>
              </a:ext>
            </a:extLst>
          </p:cNvPr>
          <p:cNvSpPr/>
          <p:nvPr/>
        </p:nvSpPr>
        <p:spPr bwMode="auto">
          <a:xfrm>
            <a:off x="4415608" y="3352800"/>
            <a:ext cx="3375896" cy="646331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tep 2 - Lear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5F7A90-FE63-4054-AD99-7FCEE2B93FA9}"/>
              </a:ext>
            </a:extLst>
          </p:cNvPr>
          <p:cNvSpPr/>
          <p:nvPr/>
        </p:nvSpPr>
        <p:spPr bwMode="auto">
          <a:xfrm>
            <a:off x="8164110" y="3999131"/>
            <a:ext cx="3375896" cy="129792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C643A41-A75B-44E7-AA86-B30837A7876C}"/>
              </a:ext>
            </a:extLst>
          </p:cNvPr>
          <p:cNvSpPr txBox="1"/>
          <p:nvPr/>
        </p:nvSpPr>
        <p:spPr>
          <a:xfrm>
            <a:off x="8305615" y="4150229"/>
            <a:ext cx="31296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>
                <a:solidFill>
                  <a:schemeClr val="tx2"/>
                </a:solidFill>
              </a:rPr>
              <a:t>Update ‘</a:t>
            </a:r>
            <a:r>
              <a:rPr lang="en-GB" sz="1600" b="1" dirty="0">
                <a:solidFill>
                  <a:schemeClr val="tx2"/>
                </a:solidFill>
              </a:rPr>
              <a:t>real</a:t>
            </a:r>
            <a:r>
              <a:rPr lang="en-GB" sz="1600" dirty="0">
                <a:solidFill>
                  <a:schemeClr val="tx2"/>
                </a:solidFill>
              </a:rPr>
              <a:t>’ channel preferences to the HCP profi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276FE5-D7AC-4041-9058-C09555DF9500}"/>
              </a:ext>
            </a:extLst>
          </p:cNvPr>
          <p:cNvSpPr/>
          <p:nvPr/>
        </p:nvSpPr>
        <p:spPr bwMode="auto">
          <a:xfrm>
            <a:off x="8164110" y="3352800"/>
            <a:ext cx="3375896" cy="646331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tep 3 - Improve</a:t>
            </a:r>
          </a:p>
        </p:txBody>
      </p:sp>
      <p:pic>
        <p:nvPicPr>
          <p:cNvPr id="21" name="Graphic 20" descr="Chat with solid fill">
            <a:extLst>
              <a:ext uri="{FF2B5EF4-FFF2-40B4-BE49-F238E27FC236}">
                <a16:creationId xmlns:a16="http://schemas.microsoft.com/office/drawing/2014/main" id="{6F8AF43C-08B4-4F30-AD2E-6F26C32C51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8522" y="3469544"/>
            <a:ext cx="441453" cy="441453"/>
          </a:xfrm>
          <a:prstGeom prst="rect">
            <a:avLst/>
          </a:prstGeom>
        </p:spPr>
      </p:pic>
      <p:pic>
        <p:nvPicPr>
          <p:cNvPr id="23" name="Graphic 22" descr="Idea with solid fill">
            <a:extLst>
              <a:ext uri="{FF2B5EF4-FFF2-40B4-BE49-F238E27FC236}">
                <a16:creationId xmlns:a16="http://schemas.microsoft.com/office/drawing/2014/main" id="{0C9D2AA9-E7A1-4017-9A03-80A8276174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21477" y="3489607"/>
            <a:ext cx="387795" cy="387795"/>
          </a:xfrm>
          <a:prstGeom prst="rect">
            <a:avLst/>
          </a:prstGeom>
        </p:spPr>
      </p:pic>
      <p:pic>
        <p:nvPicPr>
          <p:cNvPr id="25" name="Graphic 24" descr="Thumbs up sign with solid fill">
            <a:extLst>
              <a:ext uri="{FF2B5EF4-FFF2-40B4-BE49-F238E27FC236}">
                <a16:creationId xmlns:a16="http://schemas.microsoft.com/office/drawing/2014/main" id="{C8C794AF-91C4-4FD2-9ED4-FCD76517EC2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84790" y="3460619"/>
            <a:ext cx="426575" cy="426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648196"/>
      </p:ext>
    </p:extLst>
  </p:cSld>
  <p:clrMapOvr>
    <a:masterClrMapping/>
  </p:clrMapOvr>
  <p:transition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eeva Pulse</a:t>
            </a:r>
            <a:r>
              <a:t> Field Engagement Global Trend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3729" y="5431268"/>
            <a:ext cx="10660063" cy="579664"/>
          </a:xfrm>
        </p:spPr>
        <p:txBody>
          <a:bodyPr/>
          <a:lstStyle/>
          <a:p>
            <a:r>
              <a:rPr sz="2000">
                <a:latin typeface="+mj-lt"/>
              </a:rPr>
              <a:t>January 2020 - March 2021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209697" y="6188400"/>
            <a:ext cx="5706000" cy="227755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r">
              <a:lnSpc>
                <a:spcPct val="80000"/>
              </a:lnSpc>
            </a:pPr>
            <a:r>
              <a:rPr sz="1050">
                <a:solidFill>
                  <a:schemeClr val="tx1"/>
                </a:solidFill>
                <a:latin typeface="+mj-lt"/>
              </a:rPr>
              <a:t>*Engage Meetings March 2020 – March 2021 comparison</a:t>
            </a:r>
          </a:p>
        </p:txBody>
      </p:sp>
      <p:pic>
        <p:nvPicPr>
          <p:cNvPr id="6" name="Picture 5" descr="icons_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000" y="2494800"/>
            <a:ext cx="8470900" cy="30607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003199" y="2660400"/>
            <a:ext cx="1544400" cy="38779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 b="1">
                <a:solidFill>
                  <a:srgbClr val="56DADB"/>
                </a:solidFill>
                <a:latin typeface="+mj-lt"/>
              </a:rPr>
              <a:t>+614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948799" y="2660400"/>
            <a:ext cx="1879200" cy="38779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 b="1">
                <a:solidFill>
                  <a:srgbClr val="56DADB"/>
                </a:solidFill>
                <a:latin typeface="+mj-lt"/>
              </a:rPr>
              <a:t>36%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343600" y="4237200"/>
            <a:ext cx="1497600" cy="38779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 b="1">
                <a:solidFill>
                  <a:srgbClr val="DD5F13"/>
                </a:solidFill>
                <a:latin typeface="+mj-lt"/>
              </a:rPr>
              <a:t>-73%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720400" y="4237200"/>
            <a:ext cx="1886400" cy="38779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 b="1">
                <a:solidFill>
                  <a:srgbClr val="2491D0"/>
                </a:solidFill>
                <a:latin typeface="+mj-lt"/>
              </a:rPr>
              <a:t>+670%*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475200" y="4237200"/>
            <a:ext cx="1699200" cy="38779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sz="2400" b="1">
                <a:solidFill>
                  <a:srgbClr val="2491D0"/>
                </a:solidFill>
                <a:latin typeface="+mj-lt"/>
              </a:rPr>
              <a:t>19min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26800" y="3099600"/>
            <a:ext cx="1987199" cy="3139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>
                <a:solidFill>
                  <a:schemeClr val="tx1"/>
                </a:solidFill>
                <a:latin typeface="+mj-lt"/>
              </a:rPr>
              <a:t>Emails Sen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812000" y="3099600"/>
            <a:ext cx="2152800" cy="3139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>
                <a:solidFill>
                  <a:schemeClr val="tx1"/>
                </a:solidFill>
                <a:latin typeface="+mj-lt"/>
              </a:rPr>
              <a:t>Avg. Open Rat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77199" y="4741200"/>
            <a:ext cx="2008800" cy="3139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>
                <a:solidFill>
                  <a:schemeClr val="tx1"/>
                </a:solidFill>
                <a:latin typeface="+mj-lt"/>
              </a:rPr>
              <a:t>Event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745600" y="4705200"/>
            <a:ext cx="1940400" cy="313932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>
                <a:solidFill>
                  <a:schemeClr val="tx1"/>
                </a:solidFill>
                <a:latin typeface="+mj-lt"/>
              </a:rPr>
              <a:t>Engage Meeting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331200" y="4705200"/>
            <a:ext cx="2095200" cy="5355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>
                <a:solidFill>
                  <a:schemeClr val="tx1"/>
                </a:solidFill>
                <a:latin typeface="+mj-lt"/>
              </a:rPr>
              <a:t>Avg. Meeting Dur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4904E38-A71F-4E73-9762-E029D4F3F88E}"/>
              </a:ext>
            </a:extLst>
          </p:cNvPr>
          <p:cNvSpPr txBox="1"/>
          <p:nvPr/>
        </p:nvSpPr>
        <p:spPr>
          <a:xfrm>
            <a:off x="624192" y="1124897"/>
            <a:ext cx="10659600" cy="683264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2400">
                <a:solidFill>
                  <a:schemeClr val="accent2"/>
                </a:solidFill>
                <a:latin typeface="+mj-lt"/>
              </a:rPr>
              <a:t>Veeva Pulse data shows us increased use of digital channels in the past year, accelerated due to COVID-19</a:t>
            </a:r>
            <a:endParaRPr sz="2400">
              <a:solidFill>
                <a:schemeClr val="accent2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FF4411-DA29-43F2-8BC6-41043D9A7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</p:spPr>
        <p:txBody>
          <a:bodyPr wrap="square" anchor="t">
            <a:normAutofit/>
          </a:bodyPr>
          <a:lstStyle/>
          <a:p>
            <a:r>
              <a:rPr lang="en-US"/>
              <a:t>ATU Insight Reports Summary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2D8DC50-AB55-4A84-90C6-A71C5B7F0917}"/>
              </a:ext>
            </a:extLst>
          </p:cNvPr>
          <p:cNvSpPr/>
          <p:nvPr/>
        </p:nvSpPr>
        <p:spPr bwMode="auto">
          <a:xfrm>
            <a:off x="426720" y="1371601"/>
            <a:ext cx="11297920" cy="558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/>
              <a:t>Pharma rep emails &amp; emails/newsletters from pharma companies are the most common, followed by F2F meetings with reps</a:t>
            </a:r>
          </a:p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070C444-BE5D-407F-B6A3-19CAABDA4D40}"/>
              </a:ext>
            </a:extLst>
          </p:cNvPr>
          <p:cNvSpPr/>
          <p:nvPr/>
        </p:nvSpPr>
        <p:spPr bwMode="auto">
          <a:xfrm>
            <a:off x="426720" y="1036320"/>
            <a:ext cx="5201920" cy="4064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Current frequency of interactions</a:t>
            </a:r>
            <a:endParaRPr kumimoji="0" lang="en-GB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4BFB72-6085-4AD0-91E2-7DA7849AA3EF}"/>
              </a:ext>
            </a:extLst>
          </p:cNvPr>
          <p:cNvSpPr/>
          <p:nvPr/>
        </p:nvSpPr>
        <p:spPr bwMode="auto">
          <a:xfrm>
            <a:off x="426720" y="2527459"/>
            <a:ext cx="11297920" cy="15873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b="1"/>
              <a:t>Impact of Services: </a:t>
            </a:r>
            <a:r>
              <a:rPr lang="en-US" sz="1600" b="0"/>
              <a:t>Activities such as patient support services have a higher impact on first line preference than “channel”</a:t>
            </a:r>
            <a:r>
              <a:rPr lang="en-US" sz="1600"/>
              <a:t>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b="1"/>
              <a:t>Human Contact: </a:t>
            </a:r>
            <a:r>
              <a:rPr lang="en-US" sz="1600"/>
              <a:t>Rep/MSL direct contact with HCP have a high impact on preference. There is not a notable difference between F2F v Remote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b="1"/>
              <a:t>One-to-Many: </a:t>
            </a:r>
            <a:r>
              <a:rPr lang="en-US" sz="1600"/>
              <a:t>Impact of channels decreases with “one-to-many” channels, such as webinars, CME, </a:t>
            </a:r>
            <a:r>
              <a:rPr lang="en-US" sz="1600" err="1"/>
              <a:t>eDetialing</a:t>
            </a:r>
            <a:r>
              <a:rPr lang="en-US" sz="1600"/>
              <a:t> via pharma website, compared to the impact of Human contact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F600C51-A681-460B-AF77-792CC237C644}"/>
              </a:ext>
            </a:extLst>
          </p:cNvPr>
          <p:cNvSpPr/>
          <p:nvPr/>
        </p:nvSpPr>
        <p:spPr bwMode="auto">
          <a:xfrm>
            <a:off x="426720" y="2192178"/>
            <a:ext cx="5201920" cy="406400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Channel effect on 1</a:t>
            </a:r>
            <a:r>
              <a:rPr kumimoji="0" lang="en-US" b="0" i="0" u="none" strike="noStrike" cap="none" normalizeH="0" baseline="3000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t</a:t>
            </a:r>
            <a:r>
              <a:rPr kumimoji="0" lang="en-US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 Line Preference</a:t>
            </a:r>
            <a:endParaRPr kumimoji="0" lang="en-GB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5EF574-4B4B-44E0-90CF-452D3B4F22AE}"/>
              </a:ext>
            </a:extLst>
          </p:cNvPr>
          <p:cNvSpPr/>
          <p:nvPr/>
        </p:nvSpPr>
        <p:spPr bwMode="auto">
          <a:xfrm>
            <a:off x="426720" y="4711858"/>
            <a:ext cx="11297920" cy="15873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b="1"/>
              <a:t>MSL v Rep Interactions: </a:t>
            </a:r>
            <a:r>
              <a:rPr lang="en-US" sz="1600"/>
              <a:t>MSLs requires less channels than Rep interactions to achieve the same preference scor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b="1"/>
              <a:t>Impact of Services: </a:t>
            </a:r>
            <a:r>
              <a:rPr lang="en-US" sz="1600"/>
              <a:t>Impact of services increases when multiple services are offered (e.g. patient support &amp; medical informatio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b="1"/>
              <a:t>“Light” Interactions: </a:t>
            </a:r>
            <a:r>
              <a:rPr lang="en-US" sz="1600"/>
              <a:t>Channels like company websites, emails, and direct mail tend to underperform all other channel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C590FBB-3ABF-4D81-9825-231FDC986C69}"/>
              </a:ext>
            </a:extLst>
          </p:cNvPr>
          <p:cNvSpPr/>
          <p:nvPr/>
        </p:nvSpPr>
        <p:spPr bwMode="auto">
          <a:xfrm>
            <a:off x="426720" y="4357447"/>
            <a:ext cx="5201920" cy="40640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Interaction Findings</a:t>
            </a:r>
            <a:endParaRPr kumimoji="0" lang="en-GB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13" name="Star: 5 Points 12">
            <a:extLst>
              <a:ext uri="{FF2B5EF4-FFF2-40B4-BE49-F238E27FC236}">
                <a16:creationId xmlns:a16="http://schemas.microsoft.com/office/drawing/2014/main" id="{9FD36F77-2CD4-430F-962A-342AAE42CDB1}"/>
              </a:ext>
            </a:extLst>
          </p:cNvPr>
          <p:cNvSpPr/>
          <p:nvPr/>
        </p:nvSpPr>
        <p:spPr bwMode="auto">
          <a:xfrm rot="647235">
            <a:off x="50192" y="1936508"/>
            <a:ext cx="513622" cy="584843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8848264"/>
      </p:ext>
    </p:extLst>
  </p:cSld>
  <p:clrMapOvr>
    <a:masterClrMapping/>
  </p:clrMapOvr>
  <p:transition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9CB4C04-7EE1-4904-A0A2-7C53F2EAA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593631"/>
          </a:xfrm>
        </p:spPr>
        <p:txBody>
          <a:bodyPr/>
          <a:lstStyle/>
          <a:p>
            <a:r>
              <a:rPr lang="en-GB"/>
              <a:t>Navigator Data - Regional Summar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5A1CF47-F29D-471B-B98F-B8ECBC454A5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9644778" y="1289672"/>
            <a:ext cx="2306320" cy="1691399"/>
          </a:xfrm>
          <a:solidFill>
            <a:schemeClr val="bg1">
              <a:lumMod val="95000"/>
            </a:schemeClr>
          </a:solidFill>
          <a:ln w="38100">
            <a:solidFill>
              <a:schemeClr val="accent6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sz="1400" b="1"/>
              <a:t>Order of Impact</a:t>
            </a:r>
          </a:p>
          <a:p>
            <a:pPr marL="457200" indent="-457200">
              <a:buClrTx/>
              <a:buAutoNum type="arabicPeriod"/>
            </a:pPr>
            <a:r>
              <a:rPr lang="en-US" sz="1400"/>
              <a:t>Earned</a:t>
            </a:r>
          </a:p>
          <a:p>
            <a:pPr marL="457200" indent="-457200">
              <a:buClrTx/>
              <a:buAutoNum type="arabicPeriod"/>
            </a:pPr>
            <a:r>
              <a:rPr lang="en-US" sz="1400"/>
              <a:t>Paid</a:t>
            </a:r>
          </a:p>
          <a:p>
            <a:pPr marL="457200" indent="-457200">
              <a:buClrTx/>
              <a:buAutoNum type="arabicPeriod"/>
            </a:pPr>
            <a:r>
              <a:rPr lang="en-US" sz="1400"/>
              <a:t>Owned-Medical</a:t>
            </a:r>
          </a:p>
          <a:p>
            <a:pPr marL="457200" indent="-457200">
              <a:buClrTx/>
              <a:buAutoNum type="arabicPeriod"/>
            </a:pPr>
            <a:r>
              <a:rPr lang="en-US" sz="1400"/>
              <a:t>Owned-Commercial</a:t>
            </a:r>
          </a:p>
          <a:p>
            <a:pPr marL="457200" indent="-457200">
              <a:buFont typeface="+mj-lt"/>
              <a:buAutoNum type="arabicPeriod"/>
            </a:pPr>
            <a:endParaRPr lang="en-GB" sz="2000" b="1"/>
          </a:p>
          <a:p>
            <a:pPr marL="0" indent="0">
              <a:buNone/>
            </a:pPr>
            <a:endParaRPr lang="en-GB" sz="20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243318-419D-4E65-90E8-A0E4BC9234E9}"/>
              </a:ext>
            </a:extLst>
          </p:cNvPr>
          <p:cNvSpPr txBox="1"/>
          <p:nvPr/>
        </p:nvSpPr>
        <p:spPr>
          <a:xfrm>
            <a:off x="729379" y="823930"/>
            <a:ext cx="10414000" cy="279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/>
              <a:t>Background: Channels were grouped into the four following categories: </a:t>
            </a:r>
            <a:r>
              <a:rPr lang="en-US" sz="1200" b="1" i="1"/>
              <a:t>Owned- Promo “Commercial”, Owned – Medical, Paid, and Earned</a:t>
            </a:r>
            <a:endParaRPr lang="en-GB" sz="1200" b="1" i="1"/>
          </a:p>
        </p:txBody>
      </p:sp>
      <p:graphicFrame>
        <p:nvGraphicFramePr>
          <p:cNvPr id="12" name="Table 4">
            <a:extLst>
              <a:ext uri="{FF2B5EF4-FFF2-40B4-BE49-F238E27FC236}">
                <a16:creationId xmlns:a16="http://schemas.microsoft.com/office/drawing/2014/main" id="{4CA29A30-2F1A-4B78-863C-34B24DB482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1139570"/>
              </p:ext>
            </p:extLst>
          </p:nvPr>
        </p:nvGraphicFramePr>
        <p:xfrm>
          <a:off x="914400" y="2023611"/>
          <a:ext cx="8547500" cy="3940021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3140895277"/>
                    </a:ext>
                  </a:extLst>
                </a:gridCol>
                <a:gridCol w="2352200">
                  <a:extLst>
                    <a:ext uri="{9D8B030D-6E8A-4147-A177-3AD203B41FA5}">
                      <a16:colId xmlns:a16="http://schemas.microsoft.com/office/drawing/2014/main" val="2095932491"/>
                    </a:ext>
                  </a:extLst>
                </a:gridCol>
                <a:gridCol w="1709500">
                  <a:extLst>
                    <a:ext uri="{9D8B030D-6E8A-4147-A177-3AD203B41FA5}">
                      <a16:colId xmlns:a16="http://schemas.microsoft.com/office/drawing/2014/main" val="417124052"/>
                    </a:ext>
                  </a:extLst>
                </a:gridCol>
                <a:gridCol w="1709500">
                  <a:extLst>
                    <a:ext uri="{9D8B030D-6E8A-4147-A177-3AD203B41FA5}">
                      <a16:colId xmlns:a16="http://schemas.microsoft.com/office/drawing/2014/main" val="4237539243"/>
                    </a:ext>
                  </a:extLst>
                </a:gridCol>
                <a:gridCol w="1709500">
                  <a:extLst>
                    <a:ext uri="{9D8B030D-6E8A-4147-A177-3AD203B41FA5}">
                      <a16:colId xmlns:a16="http://schemas.microsoft.com/office/drawing/2014/main" val="2478015051"/>
                    </a:ext>
                  </a:extLst>
                </a:gridCol>
              </a:tblGrid>
              <a:tr h="343381"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Owned - Commercial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Owned – Medical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Paid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Earned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0251420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r>
                        <a:rPr lang="en-US" sz="1400" b="1"/>
                        <a:t>Regional Winners</a:t>
                      </a:r>
                      <a:endParaRPr lang="en-GB" sz="1400" b="1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/>
                        <a:t>F2F Reps</a:t>
                      </a:r>
                      <a:r>
                        <a:rPr lang="en-US" sz="1100" b="0" i="0"/>
                        <a:t>: Viewed as high reach for this category across markets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/>
                        <a:t>Pharma Website/ Emails/ eNewsletters</a:t>
                      </a:r>
                      <a:r>
                        <a:rPr lang="en-US" sz="1100" b="0" i="0"/>
                        <a:t>: perceived generally as high reach/low impact</a:t>
                      </a:r>
                      <a:endParaRPr lang="en-GB" sz="1100" b="1" i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/>
                        <a:t>Pharma Webcasts:</a:t>
                      </a:r>
                      <a:r>
                        <a:rPr lang="en-US" sz="1100" b="0" i="0"/>
                        <a:t> Very high reach scores (mid-impact) across multiple markets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/>
                        <a:t>Scientific Meetings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/>
                        <a:t>Medical Education</a:t>
                      </a:r>
                    </a:p>
                    <a:p>
                      <a:pPr marL="0" indent="0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GB" sz="1100" b="0" i="0"/>
                        <a:t>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/>
                        <a:t>eCME: </a:t>
                      </a:r>
                      <a:r>
                        <a:rPr lang="en-US" sz="1100" b="0"/>
                        <a:t>consistently scored high on impact &amp; reach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/>
                        <a:t>Scientific Websites/ Newsletters/ Search Engines (i.e. 3</a:t>
                      </a:r>
                      <a:r>
                        <a:rPr lang="en-US" sz="1100" b="1" baseline="30000"/>
                        <a:t>rd</a:t>
                      </a:r>
                      <a:r>
                        <a:rPr lang="en-US" sz="1100" b="1"/>
                        <a:t> party)</a:t>
                      </a:r>
                      <a:endParaRPr lang="en-US" sz="1100" b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1"/>
                        <a:t>Medical Journals</a:t>
                      </a:r>
                    </a:p>
                    <a:p>
                      <a:pPr marL="0" indent="0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endParaRPr lang="en-US" sz="1100" b="1"/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1"/>
                        <a:t>International or National Congresses </a:t>
                      </a:r>
                      <a:endParaRPr lang="en-GB" sz="1100" b="1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400186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r>
                        <a:rPr lang="en-GB" sz="1400" b="1"/>
                        <a:t>Key Finding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8" indent="-111125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Perceived Value of </a:t>
                      </a:r>
                      <a:r>
                        <a:rPr lang="en-US" sz="1100" b="1" i="1"/>
                        <a:t>Sample Service</a:t>
                      </a:r>
                      <a:r>
                        <a:rPr lang="en-US" sz="1100" b="0" i="0"/>
                        <a:t> differs significantly across markets.</a:t>
                      </a:r>
                    </a:p>
                    <a:p>
                      <a:pPr marL="173038" indent="-111125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/>
                        <a:t> Responses show this category to be primarily useful for </a:t>
                      </a:r>
                      <a:r>
                        <a:rPr lang="en-US" sz="1100" b="1" i="0"/>
                        <a:t>reach</a:t>
                      </a:r>
                      <a:endParaRPr lang="en-US" sz="1100" b="0" i="0"/>
                    </a:p>
                    <a:p>
                      <a:pPr marL="285750" indent="-2857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sz="11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1"/>
                        <a:t>MSL F2F scores</a:t>
                      </a:r>
                      <a:r>
                        <a:rPr lang="en-US" sz="1100"/>
                        <a:t> flux across markets</a:t>
                      </a:r>
                    </a:p>
                    <a:p>
                      <a:pPr marL="285750" indent="-2857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1"/>
                        <a:t>Patient support services</a:t>
                      </a:r>
                      <a:r>
                        <a:rPr lang="en-US" sz="1100"/>
                        <a:t> scores flux across markets</a:t>
                      </a:r>
                    </a:p>
                    <a:p>
                      <a:pPr marL="285750" indent="-2857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endParaRPr lang="en-GB" sz="11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8" indent="-173038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Banner, TV ads, and Journal ads generally score very low on both metrics </a:t>
                      </a:r>
                    </a:p>
                    <a:p>
                      <a:pPr marL="285750" indent="-2857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endParaRPr lang="en-GB" sz="11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/>
                        <a:t>KOLs </a:t>
                      </a:r>
                      <a:r>
                        <a:rPr lang="en-US" sz="1100" b="0" i="0"/>
                        <a:t>score generally highly on impact and very low on reach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/>
                        <a:t>Treatment Guidelines: </a:t>
                      </a:r>
                      <a:r>
                        <a:rPr lang="en-US" sz="1100" b="0" i="0"/>
                        <a:t>Although high across markets, scores in IT &amp; ES significantly higher than the other channels</a:t>
                      </a:r>
                      <a:endParaRPr lang="en-GB" sz="1100" b="1" i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0185016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5913280F-8F68-4D70-851C-B2BE9731E819}"/>
              </a:ext>
            </a:extLst>
          </p:cNvPr>
          <p:cNvSpPr txBox="1"/>
          <p:nvPr/>
        </p:nvSpPr>
        <p:spPr>
          <a:xfrm>
            <a:off x="812800" y="1177912"/>
            <a:ext cx="88319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There are both consistencies &amp; inconsistencies across markets to note in designing the regional HCP Journeys</a:t>
            </a:r>
            <a:endParaRPr lang="en-GB" b="1"/>
          </a:p>
        </p:txBody>
      </p:sp>
    </p:spTree>
    <p:extLst>
      <p:ext uri="{BB962C8B-B14F-4D97-AF65-F5344CB8AC3E}">
        <p14:creationId xmlns:p14="http://schemas.microsoft.com/office/powerpoint/2010/main" val="3850723112"/>
      </p:ext>
    </p:extLst>
  </p:cSld>
  <p:clrMapOvr>
    <a:masterClrMapping/>
  </p:clrMapOvr>
  <p:transition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AFE647D-E878-4306-8070-70751CD9CF64}"/>
              </a:ext>
            </a:extLst>
          </p:cNvPr>
          <p:cNvSpPr/>
          <p:nvPr/>
        </p:nvSpPr>
        <p:spPr>
          <a:xfrm>
            <a:off x="8710505" y="5046280"/>
            <a:ext cx="2162387" cy="57700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Mass Email</a:t>
            </a:r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ADF101-0536-46EB-AAD2-DD6DA87ED965}"/>
              </a:ext>
            </a:extLst>
          </p:cNvPr>
          <p:cNvSpPr/>
          <p:nvPr/>
        </p:nvSpPr>
        <p:spPr>
          <a:xfrm>
            <a:off x="6057057" y="4934582"/>
            <a:ext cx="2162387" cy="57700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hysical Mail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DD62374-2961-4EF7-8B65-F6D3CC4C6523}"/>
              </a:ext>
            </a:extLst>
          </p:cNvPr>
          <p:cNvSpPr/>
          <p:nvPr/>
        </p:nvSpPr>
        <p:spPr>
          <a:xfrm>
            <a:off x="9916160" y="5705559"/>
            <a:ext cx="2275840" cy="6807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trike="sngStrike">
                <a:solidFill>
                  <a:schemeClr val="tx1"/>
                </a:solidFill>
              </a:rPr>
              <a:t>Campaigns</a:t>
            </a:r>
          </a:p>
          <a:p>
            <a:pPr algn="ctr"/>
            <a:r>
              <a:rPr lang="en-US" sz="1200" strike="sngStrike" err="1">
                <a:solidFill>
                  <a:schemeClr val="tx1"/>
                </a:solidFill>
              </a:rPr>
              <a:t>Tbd</a:t>
            </a:r>
            <a:r>
              <a:rPr lang="en-US" sz="1200" strike="sngStrike">
                <a:solidFill>
                  <a:schemeClr val="tx1"/>
                </a:solidFill>
              </a:rPr>
              <a:t> what this actually refers to</a:t>
            </a:r>
            <a:endParaRPr lang="en-GB" sz="1200" strike="sngStrike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14AE5E-14DA-4FCF-AC27-396F7349F1A2}"/>
              </a:ext>
            </a:extLst>
          </p:cNvPr>
          <p:cNvSpPr/>
          <p:nvPr/>
        </p:nvSpPr>
        <p:spPr>
          <a:xfrm>
            <a:off x="6057057" y="1790321"/>
            <a:ext cx="2275840" cy="6807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-Detail (F2F)</a:t>
            </a:r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E30C29-B01D-4A18-8384-DA792787E7D1}"/>
              </a:ext>
            </a:extLst>
          </p:cNvPr>
          <p:cNvSpPr/>
          <p:nvPr/>
        </p:nvSpPr>
        <p:spPr>
          <a:xfrm>
            <a:off x="2379138" y="1672893"/>
            <a:ext cx="2690701" cy="8575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irtual 3</a:t>
            </a:r>
            <a:r>
              <a:rPr lang="en-US" baseline="30000"/>
              <a:t>rd</a:t>
            </a:r>
            <a:r>
              <a:rPr lang="en-US"/>
              <a:t> party Events / </a:t>
            </a:r>
          </a:p>
          <a:p>
            <a:pPr algn="ctr"/>
            <a:r>
              <a:rPr lang="en-US"/>
              <a:t>Congresses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8C47C5-1DC4-45B3-BA5A-FB1E6AFBA772}"/>
              </a:ext>
            </a:extLst>
          </p:cNvPr>
          <p:cNvSpPr/>
          <p:nvPr/>
        </p:nvSpPr>
        <p:spPr>
          <a:xfrm>
            <a:off x="2379138" y="4854059"/>
            <a:ext cx="2162387" cy="57700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odcast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03BCD3-CE4A-48E6-ABE2-AE54E1E86124}"/>
              </a:ext>
            </a:extLst>
          </p:cNvPr>
          <p:cNvSpPr/>
          <p:nvPr/>
        </p:nvSpPr>
        <p:spPr>
          <a:xfrm>
            <a:off x="8710505" y="2485024"/>
            <a:ext cx="2162387" cy="57700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AE</a:t>
            </a:r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3BAA89A-3C2F-44B4-A35E-8CF302102CB3}"/>
              </a:ext>
            </a:extLst>
          </p:cNvPr>
          <p:cNvSpPr/>
          <p:nvPr/>
        </p:nvSpPr>
        <p:spPr>
          <a:xfrm>
            <a:off x="6057057" y="4115856"/>
            <a:ext cx="2162387" cy="57700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eave Behind</a:t>
            </a:r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D45A3C4-8D64-4869-94E8-561AE0F0412F}"/>
              </a:ext>
            </a:extLst>
          </p:cNvPr>
          <p:cNvSpPr/>
          <p:nvPr/>
        </p:nvSpPr>
        <p:spPr>
          <a:xfrm>
            <a:off x="8653781" y="1826462"/>
            <a:ext cx="2162387" cy="57700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mote Engage Call</a:t>
            </a:r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29ADF2-60F3-4524-AAF5-556F026272DE}"/>
              </a:ext>
            </a:extLst>
          </p:cNvPr>
          <p:cNvSpPr/>
          <p:nvPr/>
        </p:nvSpPr>
        <p:spPr>
          <a:xfrm>
            <a:off x="2379138" y="3699996"/>
            <a:ext cx="2275840" cy="6807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Digital Media Campaign</a:t>
            </a:r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2DFF37C-F1D4-4AF5-B87F-698F47FF9DFD}"/>
              </a:ext>
            </a:extLst>
          </p:cNvPr>
          <p:cNvSpPr/>
          <p:nvPr/>
        </p:nvSpPr>
        <p:spPr>
          <a:xfrm>
            <a:off x="2413008" y="5589624"/>
            <a:ext cx="2275840" cy="6807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3</a:t>
            </a:r>
            <a:r>
              <a:rPr lang="en-US" baseline="30000"/>
              <a:t>rd</a:t>
            </a:r>
            <a:r>
              <a:rPr lang="en-US"/>
              <a:t> Party Publication</a:t>
            </a:r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7AC2BE6-4C3B-4373-94E6-36F338722491}"/>
              </a:ext>
            </a:extLst>
          </p:cNvPr>
          <p:cNvSpPr/>
          <p:nvPr/>
        </p:nvSpPr>
        <p:spPr>
          <a:xfrm>
            <a:off x="2390992" y="1185212"/>
            <a:ext cx="2570480" cy="48768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aid</a:t>
            </a:r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AF6ECA8-F309-4291-B9F8-B5FD673F4AB8}"/>
              </a:ext>
            </a:extLst>
          </p:cNvPr>
          <p:cNvSpPr/>
          <p:nvPr/>
        </p:nvSpPr>
        <p:spPr>
          <a:xfrm>
            <a:off x="5858932" y="1185212"/>
            <a:ext cx="5127413" cy="48768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Owned</a:t>
            </a:r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252A3A0-10C4-421A-BD7F-B2E2496496DD}"/>
              </a:ext>
            </a:extLst>
          </p:cNvPr>
          <p:cNvSpPr/>
          <p:nvPr/>
        </p:nvSpPr>
        <p:spPr>
          <a:xfrm>
            <a:off x="6057057" y="5623287"/>
            <a:ext cx="2162387" cy="57700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ocial Media</a:t>
            </a:r>
            <a:endParaRPr lang="en-GB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4B06A7C-EA4D-4EC3-8AB3-A44244DABE5B}"/>
              </a:ext>
            </a:extLst>
          </p:cNvPr>
          <p:cNvCxnSpPr>
            <a:cxnSpLocks/>
          </p:cNvCxnSpPr>
          <p:nvPr/>
        </p:nvCxnSpPr>
        <p:spPr>
          <a:xfrm>
            <a:off x="1788164" y="3996546"/>
            <a:ext cx="939630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9A49E232-29C4-49D2-A7DA-E4132C8683EC}"/>
              </a:ext>
            </a:extLst>
          </p:cNvPr>
          <p:cNvSpPr/>
          <p:nvPr/>
        </p:nvSpPr>
        <p:spPr>
          <a:xfrm>
            <a:off x="9678248" y="3204500"/>
            <a:ext cx="2275840" cy="6807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Self </a:t>
            </a:r>
            <a:r>
              <a:rPr lang="en-US" err="1">
                <a:solidFill>
                  <a:schemeClr val="tx1"/>
                </a:solidFill>
              </a:rPr>
              <a:t>eDetail</a:t>
            </a:r>
            <a:endParaRPr lang="en-US">
              <a:solidFill>
                <a:schemeClr val="tx1"/>
              </a:solidFill>
            </a:endParaRPr>
          </a:p>
          <a:p>
            <a:pPr algn="ctr"/>
            <a:r>
              <a:rPr lang="en-US" sz="1200" i="1" err="1">
                <a:solidFill>
                  <a:schemeClr val="tx1"/>
                </a:solidFill>
              </a:rPr>
              <a:t>Funtionality</a:t>
            </a:r>
            <a:r>
              <a:rPr lang="en-US" sz="1200" i="1">
                <a:solidFill>
                  <a:schemeClr val="tx1"/>
                </a:solidFill>
              </a:rPr>
              <a:t> not yet active</a:t>
            </a:r>
            <a:endParaRPr lang="en-GB" sz="1200" i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3AB6ED0-F826-41D9-BBED-2535564F64E0}"/>
              </a:ext>
            </a:extLst>
          </p:cNvPr>
          <p:cNvSpPr/>
          <p:nvPr/>
        </p:nvSpPr>
        <p:spPr>
          <a:xfrm>
            <a:off x="6057057" y="3184900"/>
            <a:ext cx="2275840" cy="6807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Websites</a:t>
            </a:r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8FBAD3B-98A1-47D4-8226-E24632E3E809}"/>
              </a:ext>
            </a:extLst>
          </p:cNvPr>
          <p:cNvSpPr/>
          <p:nvPr/>
        </p:nvSpPr>
        <p:spPr>
          <a:xfrm>
            <a:off x="2390992" y="2549690"/>
            <a:ext cx="2275840" cy="6807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3</a:t>
            </a:r>
            <a:r>
              <a:rPr lang="en-US" baseline="30000"/>
              <a:t>rd</a:t>
            </a:r>
            <a:r>
              <a:rPr lang="en-US"/>
              <a:t> Party Portals</a:t>
            </a:r>
            <a:endParaRPr lang="en-GB"/>
          </a:p>
        </p:txBody>
      </p:sp>
      <p:sp>
        <p:nvSpPr>
          <p:cNvPr id="24" name="Title 3">
            <a:extLst>
              <a:ext uri="{FF2B5EF4-FFF2-40B4-BE49-F238E27FC236}">
                <a16:creationId xmlns:a16="http://schemas.microsoft.com/office/drawing/2014/main" id="{EB15CF9F-5709-4648-85A1-3A912FA12E7B}"/>
              </a:ext>
            </a:extLst>
          </p:cNvPr>
          <p:cNvSpPr txBox="1">
            <a:spLocks/>
          </p:cNvSpPr>
          <p:nvPr/>
        </p:nvSpPr>
        <p:spPr bwMode="auto">
          <a:xfrm>
            <a:off x="729379" y="259809"/>
            <a:ext cx="10810627" cy="59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b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6000" b="1">
                <a:solidFill>
                  <a:schemeClr val="tx2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178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6pPr>
            <a:lvl7pPr marL="914357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7pPr>
            <a:lvl8pPr marL="1371534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8pPr>
            <a:lvl9pPr marL="1828713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015C55"/>
                </a:solidFill>
                <a:latin typeface="Tahoma" pitchFamily="-107" charset="0"/>
              </a:defRPr>
            </a:lvl9pPr>
          </a:lstStyle>
          <a:p>
            <a:pPr algn="l"/>
            <a:r>
              <a:rPr lang="en-US" sz="3600" kern="0"/>
              <a:t>P</a:t>
            </a:r>
            <a:r>
              <a:rPr lang="en-GB" sz="3600" kern="0" err="1"/>
              <a:t>rior</a:t>
            </a:r>
            <a:r>
              <a:rPr lang="en-GB" sz="3600" kern="0"/>
              <a:t> Session – Channel Brainstorm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CC9130E-736C-4C7D-AE84-231F099444B3}"/>
              </a:ext>
            </a:extLst>
          </p:cNvPr>
          <p:cNvSpPr txBox="1"/>
          <p:nvPr/>
        </p:nvSpPr>
        <p:spPr>
          <a:xfrm rot="16200000">
            <a:off x="590809" y="2365024"/>
            <a:ext cx="2062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High Priority</a:t>
            </a:r>
            <a:endParaRPr lang="en-GB" b="1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8453187-F96D-4DFE-93EF-42C74DE4E984}"/>
              </a:ext>
            </a:extLst>
          </p:cNvPr>
          <p:cNvSpPr txBox="1"/>
          <p:nvPr/>
        </p:nvSpPr>
        <p:spPr>
          <a:xfrm rot="16200000">
            <a:off x="572258" y="4489653"/>
            <a:ext cx="2062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Low Priority</a:t>
            </a:r>
            <a:endParaRPr lang="en-GB" b="1"/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A3801440-70C8-412A-BF87-EEFEBAEC9103}"/>
              </a:ext>
            </a:extLst>
          </p:cNvPr>
          <p:cNvSpPr/>
          <p:nvPr/>
        </p:nvSpPr>
        <p:spPr bwMode="auto">
          <a:xfrm>
            <a:off x="2390992" y="2549690"/>
            <a:ext cx="260768" cy="334183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0" name="Star: 5 Points 29">
            <a:extLst>
              <a:ext uri="{FF2B5EF4-FFF2-40B4-BE49-F238E27FC236}">
                <a16:creationId xmlns:a16="http://schemas.microsoft.com/office/drawing/2014/main" id="{3F5B6B29-480F-4C38-906B-6A8DD7DF68BF}"/>
              </a:ext>
            </a:extLst>
          </p:cNvPr>
          <p:cNvSpPr/>
          <p:nvPr/>
        </p:nvSpPr>
        <p:spPr bwMode="auto">
          <a:xfrm>
            <a:off x="2407924" y="2044762"/>
            <a:ext cx="260768" cy="334183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1" name="Star: 5 Points 30">
            <a:extLst>
              <a:ext uri="{FF2B5EF4-FFF2-40B4-BE49-F238E27FC236}">
                <a16:creationId xmlns:a16="http://schemas.microsoft.com/office/drawing/2014/main" id="{87A68816-33B3-433E-A11C-225F1DD722C7}"/>
              </a:ext>
            </a:extLst>
          </p:cNvPr>
          <p:cNvSpPr/>
          <p:nvPr/>
        </p:nvSpPr>
        <p:spPr bwMode="auto">
          <a:xfrm>
            <a:off x="6134692" y="1816710"/>
            <a:ext cx="260768" cy="334183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E2A92D-26A5-489C-9588-297C7752B29F}"/>
              </a:ext>
            </a:extLst>
          </p:cNvPr>
          <p:cNvSpPr/>
          <p:nvPr/>
        </p:nvSpPr>
        <p:spPr>
          <a:xfrm>
            <a:off x="3575474" y="3103589"/>
            <a:ext cx="2162387" cy="57700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Webinar</a:t>
            </a:r>
          </a:p>
          <a:p>
            <a:pPr algn="ctr"/>
            <a:r>
              <a:rPr lang="en-US" sz="1400"/>
              <a:t>(virtual peer-to-peer)</a:t>
            </a:r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37000222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0D7581E-8FFE-428E-A00B-4DE9D15769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Navigator Summari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5435151"/>
      </p:ext>
    </p:extLst>
  </p:cSld>
  <p:clrMapOvr>
    <a:masterClrMapping/>
  </p:clrMapOvr>
  <p:transition>
    <p:wipe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16C96-C691-4B78-9E0B-E294169B7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4772"/>
            <a:ext cx="10515600" cy="650875"/>
          </a:xfrm>
        </p:spPr>
        <p:txBody>
          <a:bodyPr>
            <a:normAutofit fontScale="90000"/>
          </a:bodyPr>
          <a:lstStyle/>
          <a:p>
            <a:r>
              <a:rPr lang="en-GB"/>
              <a:t>Summary of Navigator Findings - Belgium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B5453446-2890-45F6-B15B-23FBA193AEF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54094569"/>
              </p:ext>
            </p:extLst>
          </p:nvPr>
        </p:nvGraphicFramePr>
        <p:xfrm>
          <a:off x="990600" y="2575559"/>
          <a:ext cx="10515600" cy="39319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3140895277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095932491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17124052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237539243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478015051"/>
                    </a:ext>
                  </a:extLst>
                </a:gridCol>
              </a:tblGrid>
              <a:tr h="343381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Owned - Commercial</a:t>
                      </a:r>
                    </a:p>
                  </a:txBody>
                  <a:tcPr>
                    <a:solidFill>
                      <a:srgbClr val="ED293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Owned – Medical</a:t>
                      </a:r>
                    </a:p>
                  </a:txBody>
                  <a:tcPr>
                    <a:solidFill>
                      <a:srgbClr val="ED293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Paid</a:t>
                      </a:r>
                    </a:p>
                  </a:txBody>
                  <a:tcPr>
                    <a:solidFill>
                      <a:srgbClr val="ED293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Earned</a:t>
                      </a:r>
                    </a:p>
                  </a:txBody>
                  <a:tcPr>
                    <a:solidFill>
                      <a:srgbClr val="ED29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0251420"/>
                  </a:ext>
                </a:extLst>
              </a:tr>
              <a:tr h="1947394">
                <a:tc>
                  <a:txBody>
                    <a:bodyPr/>
                    <a:lstStyle/>
                    <a:p>
                      <a:r>
                        <a:rPr lang="en-GB"/>
                        <a:t>Top Performing Channel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GB" sz="1200" b="1"/>
                        <a:t>F2F Rep</a:t>
                      </a:r>
                      <a:r>
                        <a:rPr lang="en-GB" sz="1200"/>
                        <a:t> – highest Reach and comparable impact to leaders in this group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GB" sz="1200" b="1" i="0"/>
                        <a:t>Sample:</a:t>
                      </a:r>
                      <a:r>
                        <a:rPr lang="en-GB" sz="1200" i="0"/>
                        <a:t> results in high reach and high impact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GB" sz="1200" b="1" i="0" err="1"/>
                        <a:t>Edetail</a:t>
                      </a:r>
                      <a:r>
                        <a:rPr lang="en-GB" sz="1200" b="1" i="0"/>
                        <a:t>: </a:t>
                      </a:r>
                      <a:r>
                        <a:rPr lang="en-GB" sz="1200" b="0" i="0"/>
                        <a:t>Very High impact, very low reach</a:t>
                      </a:r>
                      <a:endParaRPr lang="en-GB" sz="1200" i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GB" sz="1200" b="1" i="0"/>
                        <a:t>Scientific Meetings: </a:t>
                      </a:r>
                      <a:r>
                        <a:rPr lang="en-GB" sz="1200" b="0" i="0"/>
                        <a:t>High Reach &amp; High Impact</a:t>
                      </a:r>
                      <a:endParaRPr lang="en-GB" sz="1200" b="1" i="0"/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GB" sz="1200" b="1"/>
                        <a:t>F2F MSL</a:t>
                      </a:r>
                      <a:r>
                        <a:rPr lang="en-GB" sz="1200"/>
                        <a:t> – Highest reach in this group, mid impact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GB" sz="1200" b="1" i="0"/>
                        <a:t>Phase IV – </a:t>
                      </a:r>
                      <a:r>
                        <a:rPr lang="en-GB" sz="1200" b="0" i="0"/>
                        <a:t>mid reach high impact</a:t>
                      </a:r>
                      <a:endParaRPr lang="en-GB" sz="1400" b="0" i="0"/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GB" sz="1200" b="1" i="0"/>
                        <a:t>PSPs, Pharma support </a:t>
                      </a:r>
                      <a:r>
                        <a:rPr lang="en-GB" sz="1200" b="1" i="0" err="1"/>
                        <a:t>centers</a:t>
                      </a:r>
                      <a:r>
                        <a:rPr lang="en-GB" sz="1200" b="1" i="0"/>
                        <a:t>, pharma webcast</a:t>
                      </a:r>
                      <a:r>
                        <a:rPr lang="en-GB" sz="1200" b="0" i="0"/>
                        <a:t> – high impact, very low reach</a:t>
                      </a:r>
                      <a:endParaRPr lang="en-GB" sz="1200" b="1" i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1" i="0"/>
                        <a:t>Scientific Website &amp; CME</a:t>
                      </a:r>
                      <a:r>
                        <a:rPr lang="en-US" sz="1200" i="0"/>
                        <a:t>: Highest impact, mid/low reach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GB" sz="1200" b="1"/>
                        <a:t>Scientific newsletters, Search engines, </a:t>
                      </a:r>
                      <a:r>
                        <a:rPr lang="en-GB" sz="1200" b="1" err="1"/>
                        <a:t>ePrescribing</a:t>
                      </a:r>
                      <a:r>
                        <a:rPr lang="en-GB" sz="1200" b="1"/>
                        <a:t>, &amp; Conference Booths</a:t>
                      </a:r>
                      <a:r>
                        <a:rPr lang="en-GB" sz="1200"/>
                        <a:t> all mid-level reach &amp; impact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GB" sz="1200" b="1"/>
                        <a:t>LinkedIn:</a:t>
                      </a:r>
                      <a:r>
                        <a:rPr lang="en-GB" sz="1200"/>
                        <a:t> Very high impact, very low reach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200" b="1" i="0"/>
                        <a:t>National/International Congress, Medical Journal (print or online) &amp; Treatment Guidelines</a:t>
                      </a:r>
                      <a:r>
                        <a:rPr lang="en-US" sz="1200" i="1"/>
                        <a:t>: </a:t>
                      </a:r>
                      <a:r>
                        <a:rPr lang="en-US" sz="1200" i="0"/>
                        <a:t>best in class reach &amp; impact across channels</a:t>
                      </a:r>
                      <a:endParaRPr lang="en-US" sz="1200" i="1"/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GB" sz="1200" b="1"/>
                        <a:t>Professional associations &amp; peers:</a:t>
                      </a:r>
                      <a:r>
                        <a:rPr lang="en-GB" sz="1200"/>
                        <a:t>  high impact compared to other channel types but mid reach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400186"/>
                  </a:ext>
                </a:extLst>
              </a:tr>
              <a:tr h="1463040">
                <a:tc>
                  <a:txBody>
                    <a:bodyPr/>
                    <a:lstStyle/>
                    <a:p>
                      <a:r>
                        <a:rPr lang="en-GB"/>
                        <a:t>Key Finding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/>
                        <a:t>F2F Rep meetings result in </a:t>
                      </a:r>
                      <a:r>
                        <a:rPr lang="en-US" sz="1200"/>
                        <a:t>#1 reach across channels (despite low/mid impact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/>
                        <a:t>Rep Emails/Pharma </a:t>
                      </a:r>
                      <a:r>
                        <a:rPr lang="en-GB" sz="1200" b="0" i="0" err="1"/>
                        <a:t>Enewsletters</a:t>
                      </a:r>
                      <a:r>
                        <a:rPr lang="en-GB" sz="1200" b="0" i="0"/>
                        <a:t>:</a:t>
                      </a:r>
                      <a:r>
                        <a:rPr lang="en-GB" sz="1200" i="0"/>
                        <a:t> result in mid reach/mid impact</a:t>
                      </a:r>
                      <a:endParaRPr lang="en-US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/>
                        <a:t>Medical channels generally result in greater impact than Commercial channel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/>
                        <a:t>Paid channels vary significantly in both reach and impact so must be selected carefull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/>
                        <a:t>Banners &amp; TV ads ranked very low on both fields</a:t>
                      </a:r>
                      <a:endParaRPr lang="en-GB" sz="12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dirty="0"/>
                        <a:t>H</a:t>
                      </a:r>
                      <a:r>
                        <a:rPr lang="en-GB" sz="1200" i="0" dirty="0" err="1"/>
                        <a:t>ighest</a:t>
                      </a:r>
                      <a:r>
                        <a:rPr lang="en-GB" sz="1200" i="0" dirty="0"/>
                        <a:t> reach &amp; impact channels are within this group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i="0" dirty="0"/>
                        <a:t>KOLs are scored as high impact but very low reach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0185016"/>
                  </a:ext>
                </a:extLst>
              </a:tr>
            </a:tbl>
          </a:graphicData>
        </a:graphic>
      </p:graphicFrame>
      <p:pic>
        <p:nvPicPr>
          <p:cNvPr id="5" name="Content Placeholder 7" descr="Shape, background pattern&#10;&#10;Description automatically generated">
            <a:extLst>
              <a:ext uri="{FF2B5EF4-FFF2-40B4-BE49-F238E27FC236}">
                <a16:creationId xmlns:a16="http://schemas.microsoft.com/office/drawing/2014/main" id="{0C84BD58-715E-43A0-AF1E-93E4F23668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1353800" y="114772"/>
            <a:ext cx="652529" cy="4350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0CF5A8A-5B98-45EE-9689-20F91AA712C3}"/>
              </a:ext>
            </a:extLst>
          </p:cNvPr>
          <p:cNvSpPr txBox="1"/>
          <p:nvPr/>
        </p:nvSpPr>
        <p:spPr>
          <a:xfrm>
            <a:off x="838200" y="2529840"/>
            <a:ext cx="4104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Detailed Summary</a:t>
            </a:r>
            <a:endParaRPr lang="en-GB" b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A032FA-F5B2-460C-96EB-DB7F5498EF2E}"/>
              </a:ext>
            </a:extLst>
          </p:cNvPr>
          <p:cNvSpPr txBox="1"/>
          <p:nvPr/>
        </p:nvSpPr>
        <p:spPr>
          <a:xfrm>
            <a:off x="838200" y="811366"/>
            <a:ext cx="105156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Overall Finding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In Belgium, Earned Channels are the most successful in terms of both reach and impac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F2F from both reps &amp; MSLs result in the highest reach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Scoring of channels is more varied than for other market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Most paid &amp; owned channels sit in the mid-range of reach &amp; impact, and thus channel usage should rely on the detail below.</a:t>
            </a:r>
            <a:endParaRPr lang="en-GB" sz="1600"/>
          </a:p>
        </p:txBody>
      </p:sp>
    </p:spTree>
    <p:extLst>
      <p:ext uri="{BB962C8B-B14F-4D97-AF65-F5344CB8AC3E}">
        <p14:creationId xmlns:p14="http://schemas.microsoft.com/office/powerpoint/2010/main" val="33085995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7" descr="Shape, background pattern&#10;&#10;Description automatically generated">
            <a:extLst>
              <a:ext uri="{FF2B5EF4-FFF2-40B4-BE49-F238E27FC236}">
                <a16:creationId xmlns:a16="http://schemas.microsoft.com/office/drawing/2014/main" id="{5BEF994D-792F-447A-AAEE-28F89B00DA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1353800" y="114772"/>
            <a:ext cx="652529" cy="435019"/>
          </a:xfrm>
          <a:prstGeom prst="rect">
            <a:avLst/>
          </a:prstGeom>
        </p:spPr>
      </p:pic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2413DB4-D20A-4638-A8F9-38CE3F471B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5237426"/>
              </p:ext>
            </p:extLst>
          </p:nvPr>
        </p:nvGraphicFramePr>
        <p:xfrm>
          <a:off x="4392325" y="142150"/>
          <a:ext cx="3356984" cy="65049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97110">
                  <a:extLst>
                    <a:ext uri="{9D8B030D-6E8A-4147-A177-3AD203B41FA5}">
                      <a16:colId xmlns:a16="http://schemas.microsoft.com/office/drawing/2014/main" val="619035526"/>
                    </a:ext>
                  </a:extLst>
                </a:gridCol>
                <a:gridCol w="783296">
                  <a:extLst>
                    <a:ext uri="{9D8B030D-6E8A-4147-A177-3AD203B41FA5}">
                      <a16:colId xmlns:a16="http://schemas.microsoft.com/office/drawing/2014/main" val="2985708221"/>
                    </a:ext>
                  </a:extLst>
                </a:gridCol>
                <a:gridCol w="488289">
                  <a:extLst>
                    <a:ext uri="{9D8B030D-6E8A-4147-A177-3AD203B41FA5}">
                      <a16:colId xmlns:a16="http://schemas.microsoft.com/office/drawing/2014/main" val="2923449357"/>
                    </a:ext>
                  </a:extLst>
                </a:gridCol>
                <a:gridCol w="488289">
                  <a:extLst>
                    <a:ext uri="{9D8B030D-6E8A-4147-A177-3AD203B41FA5}">
                      <a16:colId xmlns:a16="http://schemas.microsoft.com/office/drawing/2014/main" val="3041750896"/>
                    </a:ext>
                  </a:extLst>
                </a:gridCol>
              </a:tblGrid>
              <a:tr h="79033"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hannel</a:t>
                      </a:r>
                      <a:endParaRPr lang="en-GB" sz="9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>
                    <a:solidFill>
                      <a:srgbClr val="ED293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ype</a:t>
                      </a:r>
                      <a:endParaRPr lang="en-GB" sz="9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>
                    <a:solidFill>
                      <a:srgbClr val="ED293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u="none" strike="noStrike" dirty="0">
                          <a:solidFill>
                            <a:schemeClr val="bg1"/>
                          </a:solidFill>
                          <a:effectLst/>
                        </a:rPr>
                        <a:t>Reach</a:t>
                      </a:r>
                      <a:endParaRPr lang="en-GB" sz="9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>
                    <a:solidFill>
                      <a:srgbClr val="ED293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u="none" strike="noStrike" dirty="0">
                          <a:solidFill>
                            <a:schemeClr val="bg1"/>
                          </a:solidFill>
                          <a:effectLst/>
                        </a:rPr>
                        <a:t>Impact</a:t>
                      </a:r>
                      <a:endParaRPr lang="en-GB" sz="9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>
                    <a:solidFill>
                      <a:srgbClr val="ED29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776433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Health Authority Website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27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9308152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Treatment Guideline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.3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9433845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Int'l Congres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0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4098881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 err="1">
                          <a:effectLst/>
                        </a:rPr>
                        <a:t>eDetai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wned - Comm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2689363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government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634871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nline Physician Network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683862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Colleague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9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04282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National Congress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9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9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038306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Hospital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8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719335"/>
                  </a:ext>
                </a:extLst>
              </a:tr>
              <a:tr h="154968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rofessional Association Website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7694433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scientific website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8465693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KOL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8994969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rof Association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521148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CME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8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12309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Medical journa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1893489"/>
                  </a:ext>
                </a:extLst>
              </a:tr>
              <a:tr h="84862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nline Medical Journal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1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4059982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nline Congress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3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88727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rma app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wned - M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8423706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Health Insurance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1631833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rma Service Center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wned - M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163795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linkedin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309835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CME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Pai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3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9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728440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Int'l Scientific Meeting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445888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se IV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wned - M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296336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Local Scientific Meeting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5701722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tient Support Progra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Owned - M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8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365874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tient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7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4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208647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scientific eNewsletter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5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4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3313512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Remote MSL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9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3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3832017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Medical education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771171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tient Association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9250398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rma webcast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8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642192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search engine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7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8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1226215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sample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456118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Nurse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1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361259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Medical Education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21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410099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MSL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73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6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6232324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rmacist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30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3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0532351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rma website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24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399563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Prescribing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5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.1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8306199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mail rep/A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8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700595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rma eNewsletter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2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3571734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conference booth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4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469725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rma Call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12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.9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6468593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 dirty="0">
                          <a:effectLst/>
                        </a:rPr>
                        <a:t>rep/AM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>
                          <a:effectLst/>
                        </a:rPr>
                        <a:t>Owned - Comm</a:t>
                      </a:r>
                      <a:endParaRPr lang="en-GB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1" u="none" strike="noStrike" dirty="0">
                          <a:effectLst/>
                        </a:rPr>
                        <a:t>82%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1" u="none" strike="noStrike" dirty="0">
                          <a:effectLst/>
                        </a:rPr>
                        <a:t>4.9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4144539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Wikipedia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 dirty="0">
                          <a:effectLst/>
                        </a:rPr>
                        <a:t>Earned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9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.3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491433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mail MSL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M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36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2435693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banners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12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.2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482481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tient Association Website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Earne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9%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6535194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TV a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4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255494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rma DM/newsletter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2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3.7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9733032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journal a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aid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45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3.3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728994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remote rep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6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2.5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3066108"/>
                  </a:ext>
                </a:extLst>
              </a:tr>
              <a:tr h="79033"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pharma twitter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750" u="none" strike="noStrike">
                          <a:effectLst/>
                        </a:rPr>
                        <a:t>Owned - Comm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>
                          <a:effectLst/>
                        </a:rPr>
                        <a:t>0%</a:t>
                      </a:r>
                      <a:endParaRPr lang="en-GB" sz="7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750" u="none" strike="noStrike" dirty="0">
                          <a:effectLst/>
                        </a:rPr>
                        <a:t>0</a:t>
                      </a:r>
                      <a:endParaRPr lang="en-GB" sz="7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28" marR="2728" marT="2728" marB="0" anchor="b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8773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37489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9572F4C-D198-4EE7-B35E-8B3794B5F6A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B1AF11A-0CBD-405E-907D-C310159D5F95}">
  <ds:schemaRefs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ead0e857-dec6-4b1e-afd3-48dbfac7dd48"/>
    <ds:schemaRef ds:uri="0d8c423f-ad67-45a2-8b05-97a43a5b7821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DA31DF1D-2231-43A2-AE33-667C872DC7D7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5</TotalTime>
  <Words>4252</Words>
  <Application>Microsoft Office PowerPoint</Application>
  <PresentationFormat>Widescreen</PresentationFormat>
  <Paragraphs>1346</Paragraphs>
  <Slides>2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8" baseType="lpstr">
      <vt:lpstr>Arial</vt:lpstr>
      <vt:lpstr>Calibri</vt:lpstr>
      <vt:lpstr>Calibri Light</vt:lpstr>
      <vt:lpstr>Tahoma</vt:lpstr>
      <vt:lpstr>Times</vt:lpstr>
      <vt:lpstr>Wingdings</vt:lpstr>
      <vt:lpstr>Office Theme</vt:lpstr>
      <vt:lpstr>Galapagos_template_Basic</vt:lpstr>
      <vt:lpstr>think-cell Slide</vt:lpstr>
      <vt:lpstr>HCP Channel Preference</vt:lpstr>
      <vt:lpstr>Objectives of Findings</vt:lpstr>
      <vt:lpstr>Veeva Pulse Field Engagement Global Trends</vt:lpstr>
      <vt:lpstr>ATU Insight Reports Summary</vt:lpstr>
      <vt:lpstr>Navigator Data - Regional Summary</vt:lpstr>
      <vt:lpstr>PowerPoint Presentation</vt:lpstr>
      <vt:lpstr>Navigator Summaries</vt:lpstr>
      <vt:lpstr>Summary of Navigator Findings - Belgium</vt:lpstr>
      <vt:lpstr>PowerPoint Presentation</vt:lpstr>
      <vt:lpstr>Summary of Navigator Findings - Italy</vt:lpstr>
      <vt:lpstr>PowerPoint Presentation</vt:lpstr>
      <vt:lpstr>Summary of Navigator Findings - Spain</vt:lpstr>
      <vt:lpstr>PowerPoint Presentation</vt:lpstr>
      <vt:lpstr>Summary of Navigator Findings - Netherlands</vt:lpstr>
      <vt:lpstr>PowerPoint Presentation</vt:lpstr>
      <vt:lpstr>Summary of Navigator Findings - France</vt:lpstr>
      <vt:lpstr>PowerPoint Presentation</vt:lpstr>
      <vt:lpstr>PowerPoint Presentation</vt:lpstr>
      <vt:lpstr>EU - Acceleration of Life Sciences Digital Engagements</vt:lpstr>
      <vt:lpstr>Great Britain - Acceleration of Life Sciences Digital Engagements</vt:lpstr>
      <vt:lpstr>Germany - Acceleration of Life Sciences Digital Engagements</vt:lpstr>
      <vt:lpstr>France - Acceleration of Life Sciences Digital Engagements</vt:lpstr>
      <vt:lpstr>Italy - Acceleration of Life Sciences Digital Engagements</vt:lpstr>
      <vt:lpstr>Spain - Acceleration of Life Sciences Digital Engagements</vt:lpstr>
      <vt:lpstr>PowerPoint Presentation</vt:lpstr>
      <vt:lpstr>Appendix – Channel Story</vt:lpstr>
      <vt:lpstr>Channel Data Sources</vt:lpstr>
      <vt:lpstr>Touchpoints Options Per Scenario</vt:lpstr>
      <vt:lpstr>Generating Behavioural P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ander Richwood</dc:creator>
  <cp:lastModifiedBy>Gareth Allott</cp:lastModifiedBy>
  <cp:revision>1</cp:revision>
  <dcterms:created xsi:type="dcterms:W3CDTF">2021-04-12T13:55:24Z</dcterms:created>
  <dcterms:modified xsi:type="dcterms:W3CDTF">2021-05-06T15:53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